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 ContentType="image/ti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ink/ink13.xml" ContentType="application/inkml+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comments/modernComment_7FFAC22A_7B02B5AE.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147140120" r:id="rId2"/>
    <p:sldId id="2145706297" r:id="rId3"/>
    <p:sldId id="2147140121" r:id="rId4"/>
    <p:sldId id="2145706247" r:id="rId5"/>
    <p:sldId id="2147140119" r:id="rId6"/>
    <p:sldId id="2145706133" r:id="rId7"/>
    <p:sldId id="2145706134" r:id="rId8"/>
    <p:sldId id="2145706157" r:id="rId9"/>
    <p:sldId id="2147140126" r:id="rId10"/>
    <p:sldId id="2145706137" r:id="rId11"/>
    <p:sldId id="2147140129" r:id="rId12"/>
    <p:sldId id="2145706140" r:id="rId13"/>
    <p:sldId id="2147140118" r:id="rId14"/>
    <p:sldId id="2147140132" r:id="rId15"/>
    <p:sldId id="2147140117" r:id="rId16"/>
    <p:sldId id="2147140137" r:id="rId17"/>
    <p:sldId id="2147140138" r:id="rId18"/>
    <p:sldId id="297" r:id="rId19"/>
    <p:sldId id="2145706190" r:id="rId2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00E480-59DA-5D6D-DEA0-47C525889D2A}" name="Laura Lamard" initials="LL" userId="S::laura.lamard@henkel.com::a3404385-f3c3-48b8-959e-7fa7e8652ac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1" d="100"/>
          <a:sy n="111" d="100"/>
        </p:scale>
        <p:origin x="59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omments/modernComment_7FFAC22A_7B02B5AE.xml><?xml version="1.0" encoding="utf-8"?>
<p188:cmLst xmlns:a="http://schemas.openxmlformats.org/drawingml/2006/main" xmlns:r="http://schemas.openxmlformats.org/officeDocument/2006/relationships" xmlns:p188="http://schemas.microsoft.com/office/powerpoint/2018/8/main">
  <p188:cm id="{E618CC90-8F18-4707-86BB-380D22F76792}" authorId="{7300E480-59DA-5D6D-DEA0-47C525889D2A}" created="2022-04-07T18:57:14.781">
    <ac:txMkLst xmlns:ac="http://schemas.microsoft.com/office/drawing/2013/main/command">
      <pc:docMk xmlns:pc="http://schemas.microsoft.com/office/powerpoint/2013/main/command"/>
      <pc:sldMk xmlns:pc="http://schemas.microsoft.com/office/powerpoint/2013/main/command" cId="2063775150" sldId="2147140138"/>
      <ac:spMk id="18" creationId="{A249BE86-0809-4838-8A47-20DD8C04406F}"/>
      <ac:txMk cp="0">
        <ac:context len="129" hash="3236423334"/>
      </ac:txMk>
    </ac:txMkLst>
    <p188:pos x="6715125" y="210110"/>
    <p188:txBody>
      <a:bodyPr/>
      <a:lstStyle/>
      <a:p>
        <a:r>
          <a:rPr lang="fr-FR"/>
          <a:t>[@Philipp Esser]  I removed the 1M€ saving mention below to be on safe side, I said "save time and money" and with the value calculator online they will be able to calculate further ^^</a:t>
        </a:r>
      </a:p>
    </p188:txBody>
  </p188:cm>
</p188:cmLst>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5-12T15:19:06.102"/>
    </inkml:context>
    <inkml:brush xml:id="br0">
      <inkml:brushProperty name="width" value="0.05" units="cm"/>
      <inkml:brushProperty name="height" value="0.05" units="cm"/>
      <inkml:brushProperty name="color" value="#5F6973"/>
    </inkml:brush>
  </inkml:definitions>
  <inkml:trace contextRef="#ctx0" brushRef="#br0">500 145 2361,'-7'-20'518,"2"3"285,-1-1 0,-14-27 0,19 42-674,0 1 0,-1-1 0,0 0 0,0 1 1,1-1-1,-2 0 0,2 2 0,-2-2 0,2 1 1,-2 0-1,1 0 0,-1 0 0,0 0 0,1 0 1,-1 1-1,0 0 0,1-1 0,-1 1 0,-1 0 1,1 1-1,1-2 0,-6 1 0,4 18 197,-3 157-43,8 0 0,39 282 0,0-213-287,-36-232-210,0-27 75,0-27 45,14-173 167,-4 52 329,-8 57-52,-4-1-149,32-180 0,-33 280-191,0 0 0,2 0 0,0 0-1,-1 0 1,2 0 0,-1 2 0,1-2 0,0 1 0,1 0-1,9-11 1,-9 7 416,-8 28-20,-5 82-396,-25 117 0,16-121-16,-7 138 0,21-210 21,2-19-16,1 0 0,-2 0 1,2 0-1,0 0 0,0-2 0,0 2 1,0 0-1,2 0 0,-2 0 0,1 0 1,-1 0-1,1 0 0,1 0 1,-1-1-1,4 6 0,-5-7-6,0-110 415,-4 1 10,-5-1-1,-35-159 1,43 259-397,-18-61 76,18 64-76,-1-1 1,0 2-1,-1-1 0,2 0 1,-2 1-1,-1-2 1,1 2-1,1-1 0,-2 1 1,-6-5-1,10 9-18,0-2-1,0 2 1,-1 0 0,1 0-1,0 0 1,0 0 0,0 0-1,-1-1 1,1 1-1,0 0 1,0 0 0,0 0-1,-2 0 1,2 0 0,0 0-1,0 0 1,0 0-1,-1 0 1,1 0 0,0 0-1,0 0 1,0 0 0,-1 0-1,1 0 1,0 0-1,0 0 1,-2 0 0,2 0-1,0 0 1,0 0 0,0 0-1,-1 0 1,1 1-1,0-1 1,0 0 0,0 0-1,0 0 1,-1 0 0,1 0-1,0 2 1,0-2-1,0 0 1,0 0 0,0 0-1,-2 0 1,2 1 0,0-1-1,-4 23-22,8 25-59,12 12 66,-9-40 27,-2-2-1,5 32 1,0 166 145,4 12-185,-12-211 38,0-1 0,-1 1-1,-1-1 1,-1 2 0,-1-2-1,1 1 1,-7 24 0,1-30-58,5-12-147,3-23 41,20-24 160,-17 41-1,-1 2 0,0-2 0,-1 2 0,1-2 0,0 0 0,-2 1 0,0-1 0,2-12-1,-3 19 21,0-1-1,0 0 0,0-1 0,0 1 0,0 0 0,0 1 1,0-2-1,-1 1 0,1 0 0,0 1 0,-2-2 0,2 1 1,0 0-1,-1 1 0,1-2 0,-1 1 0,1 1 0,-2-1 0,2-1 1,-1 2-1,1-1 0,-1 1 0,-2-1 0,-26-14 624,11 7-693,-336-140 756,347 144-727,-1 1 0,0-2 1,1 1-1,1-1 1,-1 1-1,0-3 1,1 2-1,0-1 0,0 0 1,-9-13-1,15 19 9,0 0-1,0-1 1,0 1 0,0 0-1,0 0 1,0 0-1,0 0 1,0 0 0,0-2-1,0 2 1,0 0-1,0 0 1,0 0 0,0 0-1,0-1 1,0 1 0,0 0-1,0 0 1,0 0-1,0 0 1,0 0 0,0-1-1,0 1 1,0 0-1,0 0 1,1 0 0,-1 0-1,0 0 1,0 0-1,0-2 1,0 2 0,0 0-1,0 0 1,2 0-1,-2 0 1,0 0 0,0 0-1,0 0 1,0 0-1,0 0 1,1 0 0,-1 0-1,0 0 1,0 0 0,0 0-1,19-2-189,26 7-29,-40-5 204,355 24-262,-218-16 288,-121-8 7,98 11 15,-107-10 9,1 2 0,-1-1 0,0 2 0,1 0-1,-1 0 1,20 12 0,-30-16-23,-2 0 0,1 2 0,-1-2 1,1 0-1,-1 0 0,2 0 0,-2 1 0,0-1 0,1 0 0,-1 0 0,1 1 1,-1-1-1,0 0 0,2 2 0,-2-2 0,0 1 0,0-1 0,1 0 0,-1 1 0,0-1 1,0 2-1,1-2 0,-1 1 0,0-1 0,0 1 0,0-1 0,0 0 0,0 3 1,-16 1 245,-37-7-174,-50-18-53,37 6 14,-77-7 1,119 20-50,0 1 0,0 2 0,0-1 0,1 3 0,-1 1 0,0 0 0,-25 8 0,48-11-1,-7 2-15,1 0 1,-1-2-1,1 2 0,-1-2 0,0 0 1,2-1-1,-2 2 0,-15-4 1,63 8-100,0-2 1,0-3 0,1-1 0,75-9 0,-77 5 94,-23 2 35,-9 1 12,-1 0 0,2-1 0,-1 2 0,1-1 0,-1 2 0,-1-1-1,2 0 1,-1 2 0,0-1 0,1 0 0,9 6 0,-82 2 674,-9-10-662,1-3 0,0-4 1,-91-23-1,200 38-273,1-2 1,0-2-1,70-3 0,188 5 259,-209 1 94,-67-8 257,-32-6 112,-3 0-558,4 2 68,-2 0 0,2 1 0,-1 1 0,0 0 0,-1 0 0,1 1 0,-2 1 0,2 0 0,0 1 0,-17 1 0,21 0-43,0 1 0,-1 1 1,2-1-1,-1 2 0,0-1 1,1 1-1,-2 1 0,2-1 0,0 1 1,-1 1-1,2-1 0,-1 1 0,0 1 1,2 0-1,-1 0 0,-8 8 0,-6 1-2873</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6"/>
    </inkml:context>
    <inkml:brush xml:id="br0">
      <inkml:brushProperty name="width" value="0.05" units="cm"/>
      <inkml:brushProperty name="height" value="0.05" units="cm"/>
      <inkml:brushProperty name="color" value="#E71224"/>
    </inkml:brush>
  </inkml:definitions>
  <inkml:trace contextRef="#ctx0" brushRef="#br0">424 121 4081,'9'-1'124,"12"-3"1074,-1 0-1,0-2 1,22-7-1,-45 4 766,2 9-1906,1 0 0,0-2 0,-2 2-1,2 0 1,0 0 0,-1-1 0,1 1 0,0 0 0,0-1 0,-1 1 0,1 0 0,0-2-1,0 2 1,0-1 0,-2 1 0,2 0 0,0-1 0,0 1 0,0-2 0,0 2 0,0 0-1,0-1 1,0 1 0,0-1 0,0 1 0,0-2 0,0 2 0,0 0 0,0-1 0,0 1-1,0-1 1,2 1 0,-2 0 0,0-2 0,0 2 0,0-1 0,1 1 0,-1 0 0,1-1-1,5-5 610,-21 10-609,7-1-77,1 1 0,1-1 0,-1 1 0,0 1 0,1-1 0,0 1 0,-10 10 0,-196 172 18,190-166 77,22-21-71,-2 0 1,2 0 0,0-1-1,0 1 1,0 0 0,0 0-1,0 0 1,0 0-1,0 0 1,0 0 0,0 0-1,0 0 1,0 0 0,0 0-1,0-2 1,0 2-1,0 0 1,0 0 0,0 0-1,0 0 1,0 0 0,0 0-1,-1 0 1,1 0-1,0 0 1,0 0 0,0 0-1,0 0 1,0 0 0,0 0-1,0 0 1,0 0-1,0 0 1,-1 0 0,1 0-1,0 0 1,0 0 0,0 0-1,0 0 1,0 0-1,0 0 1,0 0 0,0 0-1,0 0 1,0 0 0,-2 0-1,2 0 1,0 0 0,0 0-1,0 0 1,0 0-1,0 0 1,0 0 0,0 2-1,0-2 1,0 0 0,0 0-1,0 0 1,39-47 200,-10 20-200,-7 11 13,-4-2 0,1-1 1,0-1-1,29-41 0,-23 33 187,-21 24-85,-7 5 5,-17 10-11,0 2 0,2-1 1,-1 3-1,-17 15 1,-23 18 266,-21 27 127,66-59-391,-1-1 0,-1-1-1,0 0 1,-1-1 0,-25 15-1,34-27 757,16-10-461,27-19-284,0 0-100,250-213 10,-256 207-102,-65 65-89,8-3 146,-158 140 71,163-148 18,20-15 105,15-10 147,42-30-282,-4-1 0,78-72 0,-86 56-39,-38 39-64,-28 33-83,-83 76 43,-64 19 114,81-49-2,36-23 1,37-28 470,53-39-255,249-195-159,-285 219-78,10-7 2,-1 1-1,0-2 1,1 0 0,-2 0 0,0 0 0,0-2 0,-2 1 0,1 0 0,0-1-1,-2 0 1,6-12 0,-11 21-3,0 1 1,1-1-1,-1 1 0,0 0 1,0-2-1,0 2 0,0-1 0,0 1 1,1 0-1,-1-1 0,0 1 0,0-2 1,2 2-1,-2 0 0,0-1 0,1 1 1,-1 0-1,0-1 0,1 1 0,-1 0 1,0 0-1,2-2 0,-2 2 0,1 0 1,-1 0-1,0 0 0,1 0 0,1-1 1,-2 1 2,1 0 1,-1 0-1,1 0 1,-1-1 0,2 1-1,-2 0 1,1-2-1,-1 2 1,1 0-1,-1-1 1,2 1 0,-2 0-1,0-1 1,1 1-1,-1-2 1,0 2-1,0-1 1,1 1 0,-1-1-1,0 1 1,0-2-1,2 2 1,-2-1-1,0 1 1,0-1 0,0 1-1,0-2 1,0 1-1,0 1 1,0-1-1,0 1 1,0-2 0,0 2-1,0-1 1,-2 1-1,2-1 1,0-1-1,0 2 1,-1-1 0,-4 1-2555,3 0 162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7"/>
    </inkml:context>
    <inkml:brush xml:id="br0">
      <inkml:brushProperty name="width" value="0.05" units="cm"/>
      <inkml:brushProperty name="height" value="0.05" units="cm"/>
      <inkml:brushProperty name="color" value="#E71224"/>
    </inkml:brush>
  </inkml:definitions>
  <inkml:trace contextRef="#ctx0" brushRef="#br0">1 163 4305,'59'21'1468,"-59"-21"-1327,1 0 0,-1 0 1,0 0-1,0 0 0,2 0 0,-2 0 0,0 0 0,1 0 0,-1 0 0,0 0 1,1 0-1,-1 0 0,0 0 0,0 0 0,2 0 0,-2 0 0,0 0 0,1-1 1,-1 1-1,0 0 0,0 0 0,1 0 0,-1 0 0,0-2 0,0 2 0,0 0 1,2 0-1,-2-1 0,0 1 0,0 0 0,0 0 0,0-1 0,1 1 1,-1 0-1,0 0 0,0-2 0,0 2 0,0 0 0,0-1 0,0 1 0,0 0 1,0-1-1,0 1 0,0 0 0,0 0 0,0-2 0,0 2 0,0 0 0,0-1 1,0 1-1,0 0 0,-1-1 0,1 1 0,0 0 0,0 0 0,0-2 0,0 2 1,-2 0-1,2-1 0,-16-50 3626,-25-43-2516,29 71-1026</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8"/>
    </inkml:context>
    <inkml:brush xml:id="br0">
      <inkml:brushProperty name="width" value="0.05" units="cm"/>
      <inkml:brushProperty name="height" value="0.05" units="cm"/>
      <inkml:brushProperty name="color" value="#E71224"/>
    </inkml:brush>
  </inkml:definitions>
  <inkml:trace contextRef="#ctx0" brushRef="#br0">344 230 20940,'-92'-102'598,"116"122"-794,1 6 177,-18-20 16,-2 0-1,2 1 0,-2 0 0,0-1 1,1 2-1,-1-1 0,-1 1 0,0 0 1,5 16-1,-2-8 14,1-1-1,0-1 1,0 1-1,1-2 1,22 26 0,-20-26 25,-50-141 703,6 62-647,-69-100 0,80 145-189,18 28-77,10 17 139,69 118 2,-44-86 45,-29-49-4,4 1 10,-2 0 0,1 0 1,-1 0-1,3 0 0,-2 0 0,2-1 0,13 13 0,-16-22 546,-4-10-362,-14-29-127,0 13-36,-1 0 1,-24-28-1,21 27-18,-5-9-17,20 30-3,-1 0 0,0 2 0,0-2-1,-1 1 1,0 0 0,-1 1 0,1 0-1,0 0 1,-9-5 0,6 4-36,4 6-101,6 12 23,0-5 106,6 25 4,2 1 0,0-1-1,25 46 1,-14-40 33,2-1 1,54 67-1,-46-76 23,-3 1 113,-27-24-167,1 1 0,-1 0 0,0 1 0,-1-1 1,2-1-1,-2 1 0,0 1 0,0-1 0,0 0 0,-2 1 0,2-1 0,-1 0 0,0-1 0,-1 2 0,0-1 0,0-1 0,0 1 0,-1 1 0,-4 4 0,-6 10-12,0-1 0,-33 34 0,41-46 14,-8 8 2,-2-2-1,0 0 1,1 1-1,-24 12 1,36-23-1,-1-2 1,2 2-1,-2 0 0,0-1 1,2 1-1,0 0 0,-2-1 1,2 1-1,-1 0 1,1 1-1,0-2 0,-2 6 1,-17 30 13,-59 14 15,67-44-31,0 0 0,2 0 0,-1 1-1,0 0 1,2 2 0,-11 12 0,-19 18-6,10-24 539,21-21-865,13-16-3447,-1 14 238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02T16:14:24.332"/>
    </inkml:context>
    <inkml:brush xml:id="br0">
      <inkml:brushProperty name="width" value="0.07938" units="cm"/>
      <inkml:brushProperty name="height" value="0.07938" units="cm"/>
      <inkml:brushProperty name="color" value="#5F6973"/>
    </inkml:brush>
  </inkml:definitions>
  <inkml:trace contextRef="#ctx0" brushRef="#br0">651 194 1832,'-30'26'719,"30"-26"-651,-4 0 0,4 1 0,-2-1 0,-1 0 0,3 0 0,-1 3 0,-2-3 0,0 0 0,2 0 0,-2 0 0,3 0 0,-2 0 0,-1 0 0,-1-3 0,-3 3 425,3 0-305,4 0 0,-2 0 1,-1 0-1,2 0 1,-2 0-1,0 3 1,2-3-1,1 0 1,-3 2-1,1-2 1,-1 0-1,2 3 1,-2-3-1,3 0 1,-3 1-1,2-1 1,1 3-1,-3-3 1,1 3-1,0 1 0,0-2-131,2 0-1,0 3 0,0-4 0,0 2 1,-3 0-1,3 1 0,0-2 0,0 1 0,0-2 1,3 5-1,-3-5 0,0 2 0,0-1 0,2 6 1,38 211-39,-26-122-35,27 274-15,-20-136 64,11-53-30,-16-106-27,-32-165 44,6 1 1,0-3-1,6 2 0,8-94 0,6-15-43,-26-340-1,10 505 35,0 1-1,-1-1 1,-24-55 0,31 88-12,0 0 0,0 0 0,0 0 0,0 0 0,0 0 0,0 0 0,0 0 0,0 0 1,0-3-1,0 3 0,0 0 0,0 0 0,0 0 0,0 0 0,0 0 0,0 0 0,0 0 0,0 0 1,0 0-1,0 0 0,-2 0 0,2 0 0,0 0 0,0 0 0,0 0 0,0 0 0,0 0 0,0 0 1,0 0-1,0 0 0,0 0 0,0 0 0,0 0 0,0 0 0,0 0 0,0 0 0,0 0 1,-3 0-1,3 0 0,0 0 0,0 0 0,0 0 0,0 0 0,0 0 0,0 0 0,0 3 0,0-3 1,0 0-1,0 0 0,0 0 0,0 0 0,0 0 0,0 0 0,0 0 0,0 0 0,0 0 0,0 0 1,0 0-1,0 0 0,0 0 0,0 0 0,0 0 0,0 0 0,0 0 0,0 1 0,-8 20-109,-7 22-17,7 6 94,2 1-1,-1 91 0,4-57 15,-2 573 102,8-353 811,-3-304-881,2 52 358,-2-50-355,3 0 0,-3 1-1,0-2 1,0 5 0,0-4 0,1 0-1,-1 0 1,3 1 0,0-2-1,-3 2 1,1 0 0,-1-2 0,3 2-1,-1-1 1,2 2 0,-4-4 66,0-4-67,0 2-1,0-2 1,3-2-1,-3 5 1,1-4-1,-1 1 1,6-6-1,4-19-57,-4-27-127,8 20 177,-11 29 2,-3 2 0,3-2 0,-1 1 1,-2-1-1,0 3 0,0-5 0,0 2 0,0 3 0,0-3 1,0 1-1,-2-2 0,-1 1 0,0 0 0,-1-6 0,2 4 2,-41-113 40,39 102-55,0 3 0,1-2-1,1-1 1,2-36 0,2 14-7,1-4 0,5 1 0,20-76 0,-27 114 13,2-2 4,0 2-1,-2 0 1,2-2-1,-3 2 0,2 1 1,-2-4-1,0 4 1,0-14-1,0 20-2,0 0-1,0 0 1,0 0 0,0 0-1,0 0 1,0 0-1,0 0 1,0 0-1,0 0 1,0 0 0,0 0-1,0 0 1,0 0-1,0 0 1,0 0 0,0 0-1,0 0 1,0 0-1,0 0 1,0 0 0,0 0-1,0 0 1,0 0-1,0 0 1,0 0 0,0-3-1,0 3 1,0 0-1,0 0 1,0 0-1,0 0 1,0 0 0,-2 0-1,2 0 1,0 0-1,0 0 1,0 0 0,0 0-1,0 0 1,0 0-1,0 0 1,0 0 0,0 0-1,0 0 1,0 0-1,0 3 1,0-3-1,0 0 1,0 0 0,0 0-1,0 0 1,0 0-1,0 0 1,0 0 0,-10 6 30,-3 21-5,6-15 44,1-1 1,3-9-70,2 1-1,-2 1 0,0-1 1,2 1-1,-2-2 0,3 2 0,-2-1 1,2 1-1,-3 1 0,2-3 1,1 3-1,0-1 0,0-1 0,0 1 1,-3 0-1,6 8 0,-3-12 5,0 2-1,0-2 1,0 0-1,0 2 1,0-2-1,0 0 0,0 2 1,0-2-1,-3 0 1,3 3-1,0-3 1,0 0-1,0 1 1,0-1-1,0 3 0,-3-3 1,3 0-1,0 3 1,0-3-1,-1 0 1,1 0-1,0 0 1,-3 1-1,-22 11 75,10-5-57,9-3-9,-1-2 0,-2 1 0,-1 1 1,4-4-1,-4 3 0,4-2 0,-4-1 0,-4 3 1,-70 1 154,68-2-139,-4 1 0,4-3 0,-4 0 0,4 0 0,-4-3 1,-30-6-1,-60-31 2,83 29-38,22 9-2,1-1-1,1 0 1,-4 3-1,6-1 0,-4 1 1,3 0-1,-4 0 1,3-3-1,-2 3 0,-6 3 1,14-3 2,-3 0 0,0 0 0,0 0 0,0 0 0,0 0 1,0 0-1,0 0 0,0 0 0,0 0 0,0 0 0,0 0 1,0 0-1,0 0 0,0 0 0,0 0 0,0 0 0,0 0 0,0 0 1,1 0-1,-1 0 0,0 0 0,0 0 0,0 0 0,0 0 0,0 0 1,0 0-1,0 0 0,0 0 0,0 1 0,0-1 0,0 0 1,0 0-1,0 0 0,0 0 0,0 0 0,0 0 0,0 0 0,0 0 1,0 0-1,0 0 0,0 0 0,0 0 0,0 0 0,0 0 0,0 0 1,0 3-1,0-3 0,0 0 0,0 0 0,0 0 0,0 0 1,-1 0-1,1 0 0,0 0 0,0 0 0,0 0 0,0 3 0,0-3 1,0 0-1,0 0 0,0 0 0,0 0 0,0 0 0,0 0 1,0 0-1,0 0 0,0 0 0,0 0 0,10 4-82,218 21 40,6 4 44,-200-25 17,-3 2 0,4-2 1,-5-4-1,2 2 0,2-4 1,0-1-1,-3-1 0,1-1 1,43-13-1,-45 8-5,-18 4-6,-4 4 0,4-2-1,-1 1 1,-2 2 0,2-2 0,1 0-1,-3 2 1,2 1 0,12 0-1,-14 7-20,-12-3-137,-17 5-73,15-6 267,-16 3-45,-1-2 0,1 3 0,-2-4 0,1-2 0,-44 4 0,-2-10 14,-1-2-1,-104-23 1,-21-5 4,126 31-12,36 1-57,-34-5 0,43 0 48,23 8-3,0 0 0,-3 0-1,3 0 1,0 0 0,0 0 0,-2 0 0,2 0-1,0 0 1,0 0 0,-2 0 0,2-1 0,0 1-1,0 0 1,0 0 0,-2 0 0,2 0 0,-3 0 0,3-3-1,0 3 1,0 0 0,0 0 0,0 0 0,0-2-1,-1 2 1,1-2 0,0 2 0,0 0 0,0 0-1,4 0-88,137 20-125,-77-10 232,103 4-1,1-18 3,158 8 0,-240 2 25,94-6 1,-162 2 14,-14-2-154,-13 0-446,-208-9-64,122 4 231,2 1 1,-107 13-1,118 2 432,-243 18-47,313-29-11,-57-1 69,63 1-39,2-3 1,0 3-1,-1 0 0,1-3 0,-1 3 0,1-2 0,0 0 0,-3 0 1,4-1-1,-1 2 0,-8-9 0,12 10-22,0 0 0,0 0-1,-2 0 1,2 0 0,0-2 0,0 2 0,0 0 0,0 0-1,0 0 1,0 0 0,-2-2 0,2 2 0,0 0 0,0 0-1,0 0 1,0-2 0,0 2 0,0 0 0,-2 0 0,2 0-1,0-3 1,0 3 0,0-3 0,2 3 0,-2 0-1,0 0 1,0 0 0,0-1 0,0 1 0,0 0 0,0 0-1,2 0 1,-2-3 0,0 3 0,0 0 0,0 0 0,0 0-1,0 0 1,0-2 0,2 2 0,-2 0 0,0 0 0,0 0-1,0 0 1,0 0 0,3 0 0,-3-2 0,0 2 0,0 0-1,0 0 1,3 0 0,-3 0 0,0 0 0,0 0 0,1 0-1,35-12-130,-31 11 135,39-6-33,-2-1 0,3 4 0,58 0 0,131 22 29,-44 11 40,-60-6 46,57 9 1025,-264-32-789,-134 0-353,24 1 21,51-8-26,80 1 9,-2 4-1,-96 6 1,125 0 13,22-1-63,-2 0 0,2-3 0,1 1 0,-2-1-1,1 0 1,-2 0 0,-11-1 0,20 1-29,0 0 1,1-3-1,-1 3 0,3-3 0,-3 3 1,0 0-1,0 0 0,2-1 0,-2 1 1,0-3-1,2 3 0,-2 0 1,0 0-1,2-2 0,-2 2 0,0 0 1,4 0-1,35-14-1689,-12 8 127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5-12T15:19:06.103"/>
    </inkml:context>
    <inkml:brush xml:id="br0">
      <inkml:brushProperty name="width" value="0.05" units="cm"/>
      <inkml:brushProperty name="height" value="0.05" units="cm"/>
      <inkml:brushProperty name="color" value="#E10413"/>
    </inkml:brush>
  </inkml:definitions>
  <inkml:trace contextRef="#ctx0" brushRef="#br0">500 145 2361,'-7'-20'518,"2"3"285,-1-1 0,-14-27 0,19 42-674,0 1 0,-1-1 0,0 0 0,0 1 1,1-1-1,-2 0 0,2 2 0,-2-2 0,2 1 1,-2 0-1,1 0 0,-1 0 0,0 0 0,1 0 1,-1 1-1,0 0 0,1-1 0,-1 1 0,-1 0 1,1 1-1,1-2 0,-6 1 0,4 18 197,-3 157-43,8 0 0,39 282 0,0-213-287,-36-232-210,0-27 75,0-27 45,14-173 167,-4 52 329,-8 57-52,-4-1-149,32-180 0,-33 280-191,0 0 0,2 0 0,0 0-1,-1 0 1,2 0 0,-1 2 0,1-2 0,0 1 0,1 0-1,9-11 1,-9 7 416,-8 28-20,-5 82-396,-25 117 0,16-121-16,-7 138 0,21-210 21,2-19-16,1 0 0,-2 0 1,2 0-1,0 0 0,0-2 0,0 2 1,0 0-1,2 0 0,-2 0 0,1 0 1,-1 0-1,1 0 0,1 0 1,-1-1-1,4 6 0,-5-7-6,0-110 415,-4 1 10,-5-1-1,-35-159 1,43 259-397,-18-61 76,18 64-76,-1-1 1,0 2-1,-1-1 0,2 0 1,-2 1-1,-1-2 1,1 2-1,1-1 0,-2 1 1,-6-5-1,10 9-18,0-2-1,0 2 1,-1 0 0,1 0-1,0 0 1,0 0 0,0 0-1,-1-1 1,1 1-1,0 0 1,0 0 0,0 0-1,-2 0 1,2 0 0,0 0-1,0 0 1,0 0-1,-1 0 1,1 0 0,0 0-1,0 0 1,0 0 0,-1 0-1,1 0 1,0 0-1,0 0 1,-2 0 0,2 0-1,0 0 1,0 0 0,0 0-1,-1 0 1,1 1-1,0-1 1,0 0 0,0 0-1,0 0 1,-1 0 0,1 0-1,0 2 1,0-2-1,0 0 1,0 0 0,0 0-1,-2 0 1,2 1 0,0-1-1,-4 23-22,8 25-59,12 12 66,-9-40 27,-2-2-1,5 32 1,0 166 145,4 12-185,-12-211 38,0-1 0,-1 1-1,-1-1 1,-1 2 0,-1-2-1,1 1 1,-7 24 0,1-30-58,5-12-147,3-23 41,20-24 160,-17 41-1,-1 2 0,0-2 0,-1 2 0,1-2 0,0 0 0,-2 1 0,0-1 0,2-12-1,-3 19 21,0-1-1,0 0 0,0-1 0,0 1 0,0 0 0,0 1 1,0-2-1,-1 1 0,1 0 0,0 1 0,-2-2 0,2 1 1,0 0-1,-1 1 0,1-2 0,-1 1 0,1 1 0,-2-1 0,2-1 1,-1 2-1,1-1 0,-1 1 0,-2-1 0,-26-14 624,11 7-693,-336-140 756,347 144-727,-1 1 0,0-2 1,1 1-1,1-1 1,-1 1-1,0-3 1,1 2-1,0-1 0,0 0 1,-9-13-1,15 19 9,0 0-1,0-1 1,0 1 0,0 0-1,0 0 1,0 0-1,0 0 1,0 0 0,0-2-1,0 2 1,0 0-1,0 0 1,0 0 0,0 0-1,0-1 1,0 1 0,0 0-1,0 0 1,0 0-1,0 0 1,0 0 0,0-1-1,0 1 1,0 0-1,0 0 1,1 0 0,-1 0-1,0 0 1,0 0-1,0-2 1,0 2 0,0 0-1,0 0 1,2 0-1,-2 0 1,0 0 0,0 0-1,0 0 1,0 0-1,0 0 1,1 0 0,-1 0-1,0 0 1,0 0 0,0 0-1,19-2-189,26 7-29,-40-5 204,355 24-262,-218-16 288,-121-8 7,98 11 15,-107-10 9,1 2 0,-1-1 0,0 2 0,1 0-1,-1 0 1,20 12 0,-30-16-23,-2 0 0,1 2 0,-1-2 1,1 0-1,-1 0 0,2 0 0,-2 1 0,0-1 0,1 0 0,-1 0 0,1 1 1,-1-1-1,0 0 0,2 2 0,-2-2 0,0 1 0,0-1 0,1 0 0,-1 1 0,0-1 1,0 2-1,1-2 0,-1 1 0,0-1 0,0 1 0,0-1 0,0 0 0,0 3 1,-16 1 245,-37-7-174,-50-18-53,37 6 14,-77-7 1,119 20-50,0 1 0,0 2 0,0-1 0,1 3 0,-1 1 0,0 0 0,-25 8 0,48-11-1,-7 2-15,1 0 1,-1-2-1,1 2 0,-1-2 0,0 0 1,2-1-1,-2 2 0,-15-4 1,63 8-100,0-2 1,0-3 0,1-1 0,75-9 0,-77 5 94,-23 2 35,-9 1 12,-1 0 0,2-1 0,-1 2 0,1-1 0,-1 2 0,-1-1-1,2 0 1,-1 2 0,0-1 0,1 0 0,9 6 0,-82 2 674,-9-10-662,1-3 0,0-4 1,-91-23-1,200 38-273,1-2 1,0-2-1,70-3 0,188 5 259,-209 1 94,-67-8 257,-32-6 112,-3 0-558,4 2 68,-2 0 0,2 1 0,-1 1 0,0 0 0,-1 0 0,1 1 0,-2 1 0,2 0 0,0 1 0,-17 1 0,21 0-43,0 1 0,-1 1 1,2-1-1,-1 2 0,0-1 1,1 1-1,-2 1 0,2-1 0,0 1 1,-1 1-1,2-1 0,-1 1 0,0 1 1,2 0-1,-1 0 0,-8 8 0,-6 1-287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5-12T15:19:06.104"/>
    </inkml:context>
    <inkml:brush xml:id="br0">
      <inkml:brushProperty name="width" value="0.05" units="cm"/>
      <inkml:brushProperty name="height" value="0.05" units="cm"/>
      <inkml:brushProperty name="color" value="#E10413"/>
    </inkml:brush>
  </inkml:definitions>
  <inkml:trace contextRef="#ctx0" brushRef="#br0">500 145 2361,'-7'-20'518,"2"3"285,-1-1 0,-14-27 0,19 42-674,0 1 0,-1-1 0,0 0 0,0 1 1,1-1-1,-2 0 0,2 2 0,-2-2 0,2 1 1,-2 0-1,1 0 0,-1 0 0,0 0 0,1 0 1,-1 1-1,0 0 0,1-1 0,-1 1 0,-1 0 1,1 1-1,1-2 0,-6 1 0,4 18 197,-3 157-43,8 0 0,39 282 0,0-213-287,-36-232-210,0-27 75,0-27 45,14-173 167,-4 52 329,-8 57-52,-4-1-149,32-180 0,-33 280-191,0 0 0,2 0 0,0 0-1,-1 0 1,2 0 0,-1 2 0,1-2 0,0 1 0,1 0-1,9-11 1,-9 7 416,-8 28-20,-5 82-396,-25 117 0,16-121-16,-7 138 0,21-210 21,2-19-16,1 0 0,-2 0 1,2 0-1,0 0 0,0-2 0,0 2 1,0 0-1,2 0 0,-2 0 0,1 0 1,-1 0-1,1 0 0,1 0 1,-1-1-1,4 6 0,-5-7-6,0-110 415,-4 1 10,-5-1-1,-35-159 1,43 259-397,-18-61 76,18 64-76,-1-1 1,0 2-1,-1-1 0,2 0 1,-2 1-1,-1-2 1,1 2-1,1-1 0,-2 1 1,-6-5-1,10 9-18,0-2-1,0 2 1,-1 0 0,1 0-1,0 0 1,0 0 0,0 0-1,-1-1 1,1 1-1,0 0 1,0 0 0,0 0-1,-2 0 1,2 0 0,0 0-1,0 0 1,0 0-1,-1 0 1,1 0 0,0 0-1,0 0 1,0 0 0,-1 0-1,1 0 1,0 0-1,0 0 1,-2 0 0,2 0-1,0 0 1,0 0 0,0 0-1,-1 0 1,1 1-1,0-1 1,0 0 0,0 0-1,0 0 1,-1 0 0,1 0-1,0 2 1,0-2-1,0 0 1,0 0 0,0 0-1,-2 0 1,2 1 0,0-1-1,-4 23-22,8 25-59,12 12 66,-9-40 27,-2-2-1,5 32 1,0 166 145,4 12-185,-12-211 38,0-1 0,-1 1-1,-1-1 1,-1 2 0,-1-2-1,1 1 1,-7 24 0,1-30-58,5-12-147,3-23 41,20-24 160,-17 41-1,-1 2 0,0-2 0,-1 2 0,1-2 0,0 0 0,-2 1 0,0-1 0,2-12-1,-3 19 21,0-1-1,0 0 0,0-1 0,0 1 0,0 0 0,0 1 1,0-2-1,-1 1 0,1 0 0,0 1 0,-2-2 0,2 1 1,0 0-1,-1 1 0,1-2 0,-1 1 0,1 1 0,-2-1 0,2-1 1,-1 2-1,1-1 0,-1 1 0,-2-1 0,-26-14 624,11 7-693,-336-140 756,347 144-727,-1 1 0,0-2 1,1 1-1,1-1 1,-1 1-1,0-3 1,1 2-1,0-1 0,0 0 1,-9-13-1,15 19 9,0 0-1,0-1 1,0 1 0,0 0-1,0 0 1,0 0-1,0 0 1,0 0 0,0-2-1,0 2 1,0 0-1,0 0 1,0 0 0,0 0-1,0-1 1,0 1 0,0 0-1,0 0 1,0 0-1,0 0 1,0 0 0,0-1-1,0 1 1,0 0-1,0 0 1,1 0 0,-1 0-1,0 0 1,0 0-1,0-2 1,0 2 0,0 0-1,0 0 1,2 0-1,-2 0 1,0 0 0,0 0-1,0 0 1,0 0-1,0 0 1,1 0 0,-1 0-1,0 0 1,0 0 0,0 0-1,19-2-189,26 7-29,-40-5 204,355 24-262,-218-16 288,-121-8 7,98 11 15,-107-10 9,1 2 0,-1-1 0,0 2 0,1 0-1,-1 0 1,20 12 0,-30-16-23,-2 0 0,1 2 0,-1-2 1,1 0-1,-1 0 0,2 0 0,-2 1 0,0-1 0,1 0 0,-1 0 0,1 1 1,-1-1-1,0 0 0,2 2 0,-2-2 0,0 1 0,0-1 0,1 0 0,-1 1 0,0-1 1,0 2-1,1-2 0,-1 1 0,0-1 0,0 1 0,0-1 0,0 0 0,0 3 1,-16 1 245,-37-7-174,-50-18-53,37 6 14,-77-7 1,119 20-50,0 1 0,0 2 0,0-1 0,1 3 0,-1 1 0,0 0 0,-25 8 0,48-11-1,-7 2-15,1 0 1,-1-2-1,1 2 0,-1-2 0,0 0 1,2-1-1,-2 2 0,-15-4 1,63 8-100,0-2 1,0-3 0,1-1 0,75-9 0,-77 5 94,-23 2 35,-9 1 12,-1 0 0,2-1 0,-1 2 0,1-1 0,-1 2 0,-1-1-1,2 0 1,-1 2 0,0-1 0,1 0 0,9 6 0,-82 2 674,-9-10-662,1-3 0,0-4 1,-91-23-1,200 38-273,1-2 1,0-2-1,70-3 0,188 5 259,-209 1 94,-67-8 257,-32-6 112,-3 0-558,4 2 68,-2 0 0,2 1 0,-1 1 0,0 0 0,-1 0 0,1 1 0,-2 1 0,2 0 0,0 1 0,-17 1 0,21 0-43,0 1 0,-1 1 1,2-1-1,-1 2 0,0-1 1,1 1-1,-2 1 0,2-1 0,0 1 1,-1 1-1,2-1 0,-1 1 0,0 1 1,2 0-1,-1 0 0,-8 8 0,-6 1-2873</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0"/>
    </inkml:context>
    <inkml:brush xml:id="br0">
      <inkml:brushProperty name="width" value="0.05" units="cm"/>
      <inkml:brushProperty name="height" value="0.05" units="cm"/>
    </inkml:brush>
  </inkml:definitions>
  <inkml:trace contextRef="#ctx0" brushRef="#br0">0 0 1336,'0'0'68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1"/>
    </inkml:context>
    <inkml:brush xml:id="br0">
      <inkml:brushProperty name="width" value="0.05" units="cm"/>
      <inkml:brushProperty name="height" value="0.05" units="cm"/>
      <inkml:brushProperty name="color" value="#E0000F"/>
    </inkml:brush>
  </inkml:definitions>
  <inkml:trace contextRef="#ctx0" brushRef="#br0">103 445 1328,'-24'-8'2811,"21"7"-2467,0 0 1,1 1-1,-1-2 1,0 1 0,1 1-1,-1-1 1,0 1 0,1-2-1,-1 2 1,0 0-1,-1 0 1,2 0 0,-4 0 3015,30 4-2912,28 4-39,0-1 1,2-3-1,51-3 1,-8 2-84,-34-3-191,-2-3 1,65-7-1,-93 6-120,26 1 177,-2 2-1,80 7 0,-67-2 204,74-2 1,-134-4-385,30 1 29,-1 0 0,58 5 1,-74-3 88,2-1 1,-2 0-1,34-4 1,18-1 300,0 6-360,26 0 89,114-26 383,-183 28-475,-28-2-49,-3-1 0,2 1 0,1-1 1,-2 0-1,1 0 0,0 2 0,-1-2 0,2 0 1,-1 0-1,0-2 0,-1 2 0,1 0 1,1-1-1,3 0 0,-61 10 435,42-6-423,-28 1-31,2 0 0,-2-3-1,-67-2 1,70-1-10,-2 2 0,-1 0 0,-56 10-1,23 3-39,14-1 52,-1-3-1,1-1 1,-2-2-1,1-2 1,-63-4-1,-133-11-268,124 8 28,87 1 199,-51 3-1,49 2 32,-47-6-1,58 0 5,1 1-1,-1 2 0,1 0 1,-1 1-1,0 2 0,-49 10 1,76-12 0,-1-1 0,2 0 0,-1 0 0,1-1 1,-12-2-1,85 3-83,135 16-38,47-14 212,350-37-1,-426 20-10,245-26 248,-372 37-255,69 1-1,-99 3-33,108-1 204,-68 5-211,-12 1 105,9-2-74,-39-2-23,0-1-1,1 2 1,-1-2 0,2-2-1,18 0 1,-19 3 138,-13-1-165,0 0 0,1 0 0,-1 0 0,0 1 0,2-1 0,-2 0 0,0 0 0,1 0 0,-1 0 0,0 0 0,0 0 0,0 0 0,1 0 0,-1 0 0,0 0 0,2 0 0,-2 0 0,1 0 0,-1 0 0,0 0 0,0 0 0,0 0 0,1 0 0,-1 0-1,0 0 1,2 0 0,-2 0 0,0 0 0,0 0 0,0-1 0,1 1 0,-1 0 0,0 0 0,0 0 0,1 0 0,-1 0 0,0-1 0,2 1 0,-2 0 0,0 0 0,0-2 0,0 2 0,0 0 0,0 0 0,0 0 0,0-1 0,0 1 0,-28-12 478,-4-8-384,-51-40 0,51 33-92,11 11 54,1-2-1,-36-38 1,53 53-66,2 0-1,-2 2 1,0-2 0,2 1-1,-3 0 1,1 0-1,1 0 1,-1 1 0,0 0-1,-1-2 1,2 2 0,-2 1-1,1-2 1,-1 1-1,1 0 1,-1 1 0,2-2-1,-8 1 1,-34-11 44,35 5-17,0 1 1,1-1-1,0 0 0,0-1 0,0 2 0,-10-16 0,-7-4-10,92 82-651,78 90 594,-73-76 136,-69-68-75,-1 1-1,0 0 1,2-2-1,-3 2 1,2-1-1,-1 0 1,2 0-1,0 0 1,-1 0-1,0 0 1,1-1-1,-2 0 1,2 1-1,0-1 1,0 0-1,-1 1 1,1-2-1,0 1 1,0-1-1,0 0 1,0 1-1,0-1 1,4-1-1,-25-20 422,-29-27-368,-4-8 11,-117-96 0,36 52-301,119 93 107,10 14-100,11 19-87,15 0 267,0-1 0,43 34 0,7 9-22,-35-28 35,5 5 118,1-2 0,59 41 0,-101-83-93,0 2-1,-2-2 0,2 0 0,-1 2 0,0-2 0,0 1 0,0 0 0,-1 1 0,0-2 1,1 2-1,-1 0 0,0-2 0,1 2 0,-1-1 0,0 1 0,-1 0 0,0-2 0,0 2 1,2-1-1,-2 1 0,0 0 0,0-1 0,0 1 0,-2 2 0,1 1-20,-2-1 0,1 0 0,-1 1-1,0-1 1,-1-1 0,2 1 0,-2 1 0,0-2 0,-11 8-1,-10 14 8,-1 1 0,4 1 0,-25 36 0,46-63 9,-2 3 9,0 0-1,2 0 1,-2 0 0,2 0 0,-2 0-1,2 2 1,0-2 0,-2 8-1,4-22-23,2 2-1,0-1 0,-1 1 1,1 0-1,1 0 0,0 0 1,1 0-1,1 0 1,10-12-1,62-68-241,-76 87 252,64-65-172,-106 93-757,30-22 903,0 2 1,0 0 0,0 1 0,-8 8 0,-25 29-4,23-22 32,0-1 1,-3 0 0,-1-2-1,-50 34 1,15-15 17,34-23 21,1 0-1,-2-1 1,-2-1 0,-34 14-1,62-28-27,-2 0-1,2 0 0,-1 2 0,1-2 1,0 0-1,-1 0 0,1 0 0,0 0 1,-2 1-1,2-1 0,-1 0 0,1 0 1,-1 0-1,1 0 0,0 0 0,0 0 1,-2 0-1,1 0 0,1 0 0,0 0 1,0 0-1,-1 0 0,1-1 0,-2 1 1,2 0-1,-1 0 0,1 0 0,0 0 1,0 0-1,-1-2 0,-1 2 0,6-14 95,23-16-85,36-19 13,-45 32-30,4 2 1,34-24-1,26-10-18,-47 28 13,0-1 0,43-16 0,-54 24-39,-20 12 43,-1-1 0,1 2 0,0-2 1,-1 2-1,1-1 0,0 0 0,0 0 1,6 0-1,-6 0-1,-1 2 1,-2 0 1,2 0-1,-2 0 1,2 0-1,-3-1 1,3 1 0,-2 0-1,2-1 1,-2 1-1,0-2 1,1 2-1,0-1 1,0 1-1,-1-1 1,0-1-1,1 1 1,-1 1-1,2-1 1,-3-1-1,1 1 1,0 0 0,-1-1-1,2 1 1,-1 0-1,0-1 1,1 0-1,-24 4 98,4 8-131,0-1 1,1 2-1,-2 1 0,5 0 1,-4 0-1,4 1 1,-17 16-1,0-1 34,-130 116 97,158-142-83,3-1-1,-1-1 1,-2 1 0,3 1 0,-2-2 0,2 1-1,-3 0 1,2-1 0,-1 2 0,0-2 0,0 0-1,1 1 1,0-1 0,-5 1 0,5-5 234,12-6-126,2-1-100,-1 2 0,-1-2 1,-1-1-1,0 1 1,11-17-1,10-10-28,23-17-53,-36 39 65,-1 0-1,-1-1 0,-1-1 0,19-31 0,-31 46-15,-2 1-1,2-1 1,0 0-1,-1 1 1,0-1 0,2 2-1,-2-2 1,1 0 0,0 2-1,1-2 1,-2 2-1,2 0 1,-1-1 0,1 1-1,0 0 1,-1-1 0,1 1-1,0 1 1,0-1-1,0 1 1,8-2 0,26-7 7,-38 9-4,0 0 0,0 0 1,0 0-1,0 0 0,0 0 0,0 0 1,0 0-1,0 0 0,0 0 1,0 0-1,0 0 0,0 0 0,0 0 1,0 0-1,0-1 0,0 1 1,0 0-1,2 0 0,-2 0 0,0 0 1,0 0-1,0 0 0,0 0 1,0 0-1,0 0 0,0 0 1,0-2-1,0 2 0,0 0 0,0 0 1,0 0-1,0 0 0,-2 0 1,2 0-1,0 0 0,0 0 0,0 0 1,0 0-1,0 0 0,0 0 1,0-1-1,0 1 0,0 0 1,0 0-1,0 0 0,0 0 0,0 0 1,0 0-1,0 0 0,0 0 1,0 0-1,0 0 0,0 0 0,0 0 1,-1 0-1,1 0 0,0 0 1,0 0-1,0 0 0,0 0 1,0 0-1,-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2"/>
    </inkml:context>
    <inkml:brush xml:id="br0">
      <inkml:brushProperty name="width" value="0.05" units="cm"/>
      <inkml:brushProperty name="height" value="0.05" units="cm"/>
      <inkml:brushProperty name="color" value="#E71224"/>
    </inkml:brush>
  </inkml:definitions>
  <inkml:trace contextRef="#ctx0" brushRef="#br0">175 1730 5529,'-38'42'2197,"38"-41"-2059,0-1 0,-1 0 0,1 1 1,0-1-1,0 0 0,-1 2 0,1-2 0,0 0 1,-2 0-1,2 1 0,0-1 0,-1 0 1,1 0-1,0 0 0,0 1 0,0-1 0,-1 0 1,1 0-1,0 0 0,-2 0 0,2 0 1,-1 0-1,1 0 0,0 0 0,0 0 0,0 0 1,-1 0-1,1 0 0,-2 0 0,2 0 1,0 0-1,-1 0 0,1-1 0,0 1 0,0 0 1,0 0-1,-1 0 0,-5-7 4298,129-7-2852,120-37 0,-141 22-1455,0-6 1,-2-6 0,129-79 0,-98 44-80,-26 16-3,107-84 1,233-194 80,-374 282-80,122-133-1,-17 13 34,-149 149-41,0-2 1,-3-2-1,1-1 0,20-38 1,9-12 18,-32 40-53,-20 36-6,0 1 1,0 1-1,0-1 0,1-1 0,0 2 1,-1 0-1,1-1 0,1 1 1,-1 0-1,-1 1 0,2-1 0,4-2 1,20-21-7,-28 26 6,2 1 0,-1-2 0,0 2 0,-1-1 1,0 1-1,0-1 0,2 1 0,-1-2 0,-1 2 0,1-1 1,-1 0-1,0 1 0,0-2 0,0 1 0,2 0 1,-2 1-1,0-2 0,1 1 0,-1 0 0,0 1 0,0-2 1,0 1-1,0 0 0,0-1 0,0 1 0,0 1 1,0-1-1,0-1 0,0 1 0,0 0 0,0 1 0,-1-4 1,-1 4-7,1 0 1,0 0 0,-1 0 0,1-2 0,0 2 0,-1 2-1,1-2 1,0 0 0,-1 0 0,1 0 0,0 1 0,-1-1-1,1 1 1,0-1 0,-1 2 0,1-2 0,1 1-1,-1 0 1,-1-1 0,1 2 0,0-1 0,1 0 0,-2 1-1,1-1 1,0 0 0,-1 2 0,-32 42 27,30-39-32,-36 42 14,-78 72 0,78-84-2,4 2 1,-37 48 0,21-25 25,0-4 0,-68 59 1,112-108-28,-65 60-1,-259 218 170,248-220 93,50-38-75,-59 39-1,48-30-145,39-31-31,1 0 0,0 0 0,-2-2 0,0 1 0,2-1 0,-2 0 0,1 0 0,-12 3 0,-7 1 18,0 0 1,1 2 0,-2 1 0,4 2 0,-2 1 0,1 2 0,0 0 0,1 2-1,-30 34 1,41-44-12,2 2 0,-2-2 0,2-2 0,-2 1 0,0 0 0,-1-2 0,2 0 0,-16 3 0,13-4-10,0 2 0,1-1 1,-2 2-1,2 1 0,-24 16 0,28-18-3,0 0 0,0-1 0,0 0 0,-1-1 0,0 0 0,-1 0 0,1-1 0,0-2 0,-1 2 0,-8-2 0,4 1 0,1 0 0,0 1 0,1 1 0,-23 11 0,8-3 4,2-2 1,-2-2-1,1 0 0,-40 3 0,42-7 0,-1 0-1,1 1 0,0 3 0,0 0 1,-37 22-1,46-24 7,-1 2 1,0-2-1,1-1 0,-1-1 0,-22 1 1,-26 9 11,42-9-22,0 0 1,-41 2 0,59-8-21,9-3-20,15 0-19,-8 4 51,-2 0 0,2-2 0,-2 1 0,1-2 0,0 1 0,-1-2 0,1 0-1,0 0 1,10-8 0,0 0 11,2 2 0,0 1 0,35-7 0,32-12 15,294-108 345,-350 124-345,0-3 1,64-38-1,-39 20 10,12-19 4,-57 40-30,1 0 0,1 1 0,24-13 0,43-11 9,113-71 0,-6-5 27,2-1 13,-137 71 13,53-51 0,0-3-64,-80 70 4,0-2 1,-3-1 0,1-1 0,-1-3 0,-2 0 0,19-39 0,-27 51-8,-2 1 0,23-22 0,14-19 17,-38 45-17,-2 2 0,4 0 0,-2 1-1,0 0 1,1 1 0,0 0 0,2 2-1,24-14 1,-30 17-1,0-1-1,1-1 1,-2-1-1,1 1 1,-1-2 0,0 0-1,0 0 1,7-12-1,-6 7 1,0 0 0,2 2-1,16-15 1,-13 12 10,-11 13-8,-2 2 0,1-2 0,-1 2 0,2-2 1,-2 2-1,2 0 0,-1-1 0,0 1 0,0 0 0,0-1 0,4 1 0,-11 1-544,2 0-82,-1 0-1,3 0 0,-3 0 0,1 0 0,2 1 0,-3-1 1,3 2-1,-3-1 0,2 0 0,0 1 0,-1-1 1,0 0-1,1 2 0,-4 2 0,-48 41-1944</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3"/>
    </inkml:context>
    <inkml:brush xml:id="br0">
      <inkml:brushProperty name="width" value="0.05" units="cm"/>
      <inkml:brushProperty name="height" value="0.05" units="cm"/>
      <inkml:brushProperty name="color" value="#E71224"/>
    </inkml:brush>
  </inkml:definitions>
  <inkml:trace contextRef="#ctx0" brushRef="#br0">429 124 2697,'30'-86'1384,"-30"86"-1323,0-1 1,0 1-1,0-1 1,0 1-1,0-2 1,0 2-1,0-1 1,0 1-1,0-1 1,0 1-1,0 0 1,-2-2-1,2 2 1,0-1-1,0 1 1,0-1-1,-1 1 0,1-2 1,0 2-1,0 0 1,0-1-1,0 1 1,-1 0-1,1-1 1,0 1-1,-2 0 1,2-2-1,-1 2 1,1 0-1,0 0 1,-1-1-1,1 1 1,0 0-1,0 0 1,-2 0-1,2 0 1,-1 0-1,1 0 0,-1 0 1,1 0-1,0 0 1,0 0-1,-2 0 1,2 0-1,-1 0 1,1 0-1,-1 0 1,1 0-1,0 1 1,-36 6 2446,29-4-2130,-238 43 4179,215-38-4302,0 2-1,-58 27 1,81-37-159,23-8-149,200-31-35,95-38 120,-295 70 50,-19 6-10,-25 2 19,5 2-96,-10-2 7,0 2 0,1 2 0,0 2 0,0 2 0,-2 2 0,-51 28 0,-56 17 5,131-52-6,-20 5-11,26-9-33,14-11-45,4 3 81,-1 2 0,2 0 0,-1 1 0,0 1 0,-1 1 0,2 1 0,25-1 0,32-8 54,4-5 10,-50 12-26,0-1 1,-1-2 0,27-11 0,-33 6 61,-18 2 164,-2 8-238,-1 0 0,0 1 0,0 0 0,0-1 0,-1 2 0,0-1 0,2 0 0,-2 1 0,2 0 0,-2-2 0,1 2 0,-1 0 0,2 0-1,-5 0 1,-18 2 24,0 0-1,2 2 0,-25 8 1,-21 4-42,-3 2 139,67-17-352,-1 0 1,1 2-1,0-2 1,0 2-1,0 0 1,0-1-1,-1 2 1,1-1-1,1 1 1,-1 0-1,1 0 1,-1 0-1,2 0 1,-5 5 0,4-1-604</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4"/>
    </inkml:context>
    <inkml:brush xml:id="br0">
      <inkml:brushProperty name="width" value="0.05" units="cm"/>
      <inkml:brushProperty name="height" value="0.05" units="cm"/>
      <inkml:brushProperty name="color" value="#E71224"/>
    </inkml:brush>
  </inkml:definitions>
  <inkml:trace contextRef="#ctx0" brushRef="#br0">116 16 6569,'0'0'1907,"0"16"-380,0 1-1120,-2-1-1,0 0 1,-1 0-1,-5 24 1,-9 47 398,13-45-567,-15 177 874,18-187-946,1-1 0,1-1 0,0 1 0,3 0 0,6 31 0,-9-56-127,0-2 0,1 1-1,-1-1 1,2 0 0,-2 0 0,2 1-1,-2-1 1,4 4 0,6-2 207,-7-30 74,-19-218 54,1 8-336,14 203-22,0 0 1,2 2-1,1-2 1,1 1-1,11-49 1,-15 79-13,1-1 0,-1-1 0,0 2 0,0-1 1,0 0-1,0-1 0,0 2 0,1-1 0,-1 0 0,0 1 0,0-2 0,0 2 1,0-1-1,2 0 0,-2 1 0,1-2 0,-1 2 0,1-1 0,-1 1 0,0-1 1,0 1-1,2-2 0,-1 2 0,-1 0 0,3-1 0,3 20-6,0 37-48,-5-20 69,-1 1 0,0 0 1,-1-1-1,-2 2 1,-1-2-1,-11 50 1,-13 36 258,28-122-270,0 1 0,0-1-1,0 0 1,-1 0 0,1 1-1,0-1 1,0 0 0,0 0-1,0 0 1,0 2 0,0-2-1,-1 0 1,1 0 0,0 1-1,0-1 1,0 0 0,0 0-1,0 0 1,0 0 0,0 0-1,0 1 1,-2-1 0,2 0-1,0 0 1,0 0 0,0 0-1,-1 0 1,1 0 0,0 0-1,0 0 1,-1 0 0,1 0-1,0 0 1,-2 0 0,2 0-1,0 0 1,0 0 0,0 0-1,0 0 1,0 0 0,0 0-1,-1 0 1,-8-16 171,-3-21-34,5-6-88,2 1 1,1-1 0,2-86 0,12 103-141,-6 26 1,-7 14 37,2-1 48,-2 2 0,0-2 0,3 0 0,0 2 0,-1-2 0,2 2 0,-1-2 0,2 2 0,-1-2 0,7 26 0,-5-27 31,-1 0 0,1 1-1,-3-1 1,1 0 0,1 2 0,-2-2 0,0 1 0,0-1 0,-2 1 0,1-1 0,0 0 0,-6 19 0,7-31-24,0 0 1,-1 0 0,1 0 0,0 1 0,0-1 0,0 0 0,0 0 0,0 0 0,-2 0 0,2 0 0,0 0 0,0 0 0,-1 0 0,1 0 0,0 0-1,-1 0 1,1 0 0,0 0 0,0 0 0,0 0 0,0 0 0,0-1 0,0 1 0,-2 0 0,2 0 0,0 0 0,0 0 0,-1 0 0,1-1-1,0 1 1,0 0 0,0 0 0,-1 0 0,1-2 0,0 2 0,0 0 0,0 0 0,0-1 0,0 1 0,-2 0 0,2 0 0,0-1 0,0 1-1,0 0 1,0 0 0,0-2 0,0 2 0,-8-20 135,-5-108 301,6 46-137,3 20-81,3 58-248,1 2 0,0-2-1,0 1 1,0-1 0,0 1-1,0-1 1,0 2 0,1-2-1,-1 1 1,2-1 0,-2 1 0,2-6-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22T03:14:02.325"/>
    </inkml:context>
    <inkml:brush xml:id="br0">
      <inkml:brushProperty name="width" value="0.05" units="cm"/>
      <inkml:brushProperty name="height" value="0.05" units="cm"/>
      <inkml:brushProperty name="color" value="#E71224"/>
    </inkml:brush>
  </inkml:definitions>
  <inkml:trace contextRef="#ctx0" brushRef="#br0">3261 1730 5529,'50'42'2197,"-50"-41"-2059,0-1 0,1 0 0,-1 1 1,0-1-1,0 0 0,1 2 0,-1-2 0,0 0 1,2 0-1,-2 1 0,0-1 0,1 0 1,-1 0-1,0 0 0,1 1 0,-1-1 0,2 0 1,-2 0-1,0 0 0,1 0 0,-1 0 1,1 0-1,-1 0 0,2 0 0,-2 0 0,0 0 1,1 0-1,-1 0 0,1 0 0,-1 0 1,0 0-1,2 0 0,-2-1 0,1 1 0,-1 0 1,0 0-1,1 0 0,6-7 4298,-166-7-2852,-157-37 0,183 22-1455,2-6 1,2-6 0,-168-79 0,126 44-80,35 16-3,-139-84 1,-303-194 80,487 282-80,-160-133-1,22 13 34,194 149-41,2-2 1,1-2-1,0-1 0,-28-38 1,-9-12 18,41 40-53,25 36-6,0 1 1,1 1-1,-1-1 0,-1-1 0,1 2 1,-1 0-1,0-1 0,0 1 1,0 0-1,0 1 0,-1-1 0,-4-2 1,-29-21-7,38 26 6,-1 1 0,0-2 0,-1 2 0,2-1 1,-1 1-1,1-1 0,-1 1 0,-1-2 0,2 2 0,-1-1 1,1 0-1,-1 1 0,1-2 0,0 1 0,-2 0 1,2 1-1,0-2 0,-1 1 0,1 0 0,0 1 0,0-2 1,0 1-1,0 0 0,0-1 0,0 1 0,0 1 1,0-1-1,0-1 0,0 1 0,0 0 0,0 1 0,1-4 1,1 4-7,0 0 1,0 0 0,-1 0 0,2-2 0,-2 2 0,0 2-1,2-2 1,-2 0 0,1 0 0,0 0 0,0 1 0,-1-1-1,0 1 1,2-1 0,-2 2 0,1-2 0,-1 1-1,0 0 1,1-1 0,-1 2 0,2-1 0,-3 0 0,1 1-1,0-1 1,1 0 0,0 2 0,42 42 27,-38-39-32,46 42 14,101 72 0,-102-84-2,-3 2 1,46 48 0,-27-25 25,1-4 0,88 59 1,-145-108-28,83 60-1,337 218 170,-323-220 93,-64-38-75,77 39-1,-62-30-145,-52-31-31,-1 0 0,2 0 0,0-2 0,0 1 0,0-1 0,0 0 0,2 0 0,11 3 0,12 1 18,-1 0 1,0 2 0,0 1 0,-1 2 0,0 1 0,-2 2 0,0 0 0,1 2-1,38 34 1,-55-44-12,-1 2 0,1-2 0,1-2 0,-1 1 0,2 0 0,-1-2 0,1 0 0,17 3 0,-15-4-10,1 2 0,-2-1 1,1 2-1,-1 1 0,29 16 0,-34-18-3,0 0 0,-1-1 0,1 0 0,1-1 0,0 0 0,0 0 0,0-1 0,0-2 0,0 2 0,12-2 0,-7 1 0,1 0 0,-1 1 0,-1 1 0,29 11 0,-11-3 4,-1-2 1,2-2-1,-1 0 0,50 3 0,-52-7 0,0 0-1,0 1 0,-1 3 0,0 0 1,49 22-1,-60-24 7,0 2 1,0-2-1,0-1 0,1-1 0,28 1 1,34 9 11,-55-9-22,1 0 1,53 2 0,-77-8-21,-12-3-20,-19 0-19,11 4 51,2 0 0,-2-2 0,2 1 0,-2-2 0,2 1 0,-2-2 0,2 0-1,-1 0 1,-14-8 0,0 0 11,-1 2 0,0 1 0,-47-7 0,-40-12 15,-382-108 345,453 124-345,1-3 1,-84-38-1,52 20 10,-16-19 4,73 40-30,1 0 0,-2 1 0,-34-13 0,-52-11 9,-148-71 0,6-5 27,-1-1 13,178 71 13,-69-51 0,0-3-64,103 70 4,2-2 1,2-1 0,0-1 0,1-3 0,2 0 0,-26-39 0,38 51-8,0 1 0,-30-22 0,-16-19 17,50 45-17,-1 2 0,-1 0 0,0 1-1,0 0 1,-1 1 0,-1 0 0,0 2-1,-32-14 1,37 17-1,1-1-1,0-1 1,1-1-1,-1 1 1,2-2 0,0 0-1,0 0 1,-9-12-1,7 7 1,-1 0 0,-1 2-1,-20-15 1,15 12 10,16 13-8,1 2 0,0-2 0,0 2 0,-1-2 1,0 2-1,1 0 0,-1-1 0,0 1 0,1 0 0,-1-1 0,-5 1 0,15 1-544,-3 0-82,0 0-1,-2 0 0,2 0 0,0 0 0,-1 1 0,1-1 1,-1 2-1,1-1 0,-2 0 0,2 1 0,-1-1 1,0 0-1,1 2 0,2 2 0,65 41-19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C42770-D9F3-42E8-93D4-0D7D9ACDB232}" type="datetimeFigureOut">
              <a:rPr lang="es-ES" smtClean="0"/>
              <a:t>26/05/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7D20D1-BF0C-4451-8430-814470B531B1}" type="slidenum">
              <a:rPr lang="es-ES" smtClean="0"/>
              <a:t>‹Nº›</a:t>
            </a:fld>
            <a:endParaRPr lang="es-ES"/>
          </a:p>
        </p:txBody>
      </p:sp>
    </p:spTree>
    <p:extLst>
      <p:ext uri="{BB962C8B-B14F-4D97-AF65-F5344CB8AC3E}">
        <p14:creationId xmlns:p14="http://schemas.microsoft.com/office/powerpoint/2010/main" val="857811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838" y="808038"/>
            <a:ext cx="7185026" cy="4041775"/>
          </a:xfrm>
        </p:spPr>
      </p:sp>
      <p:sp>
        <p:nvSpPr>
          <p:cNvPr id="3" name="Notizenplatzhalter 2"/>
          <p:cNvSpPr>
            <a:spLocks noGrp="1"/>
          </p:cNvSpPr>
          <p:nvPr>
            <p:ph type="body" idx="1"/>
          </p:nvPr>
        </p:nvSpPr>
        <p:spPr/>
        <p:txBody>
          <a:bodyPr/>
          <a:lstStyle/>
          <a:p>
            <a:pPr marL="0" marR="0" lvl="0" indent="0" defTabSz="914400" eaLnBrk="1" fontAlgn="auto" latinLnBrk="0" hangingPunct="1">
              <a:lnSpc>
                <a:spcPct val="104999"/>
              </a:lnSpc>
              <a:spcBef>
                <a:spcPts val="0"/>
              </a:spcBef>
              <a:spcAft>
                <a:spcPts val="0"/>
              </a:spcAft>
              <a:buClrTx/>
              <a:buSzTx/>
              <a:buFontTx/>
              <a:buNone/>
              <a:tabLst/>
              <a:defRPr/>
            </a:pPr>
            <a:r>
              <a:rPr lang="en-US" b="1">
                <a:solidFill>
                  <a:schemeClr val="tx2"/>
                </a:solidFill>
              </a:rPr>
              <a:t>Overall objective</a:t>
            </a:r>
            <a:r>
              <a:rPr lang="en-US">
                <a:solidFill>
                  <a:schemeClr val="tx2"/>
                </a:solidFill>
              </a:rPr>
              <a:t>: </a:t>
            </a:r>
            <a:r>
              <a:rPr lang="en-US" sz="1600" kern="0">
                <a:latin typeface="+mn-lt"/>
              </a:rPr>
              <a:t>Expand Henkel’s current MRO portfolio by </a:t>
            </a:r>
            <a:r>
              <a:rPr lang="en-US" sz="1600" b="1" kern="0">
                <a:latin typeface="+mn-lt"/>
              </a:rPr>
              <a:t>data-enabled smart maintenance solutions</a:t>
            </a:r>
            <a:r>
              <a:rPr lang="en-US" sz="1600" kern="0">
                <a:latin typeface="+mn-lt"/>
              </a:rPr>
              <a:t> (IIOT) being </a:t>
            </a:r>
            <a:r>
              <a:rPr lang="en-US" sz="1600" b="1" kern="0">
                <a:latin typeface="+mn-lt"/>
              </a:rPr>
              <a:t>synergetic</a:t>
            </a:r>
            <a:r>
              <a:rPr lang="en-US" sz="1600" kern="0">
                <a:latin typeface="+mn-lt"/>
              </a:rPr>
              <a:t> with the existing ACM business.</a:t>
            </a:r>
          </a:p>
          <a:p>
            <a:endParaRPr lang="en-US"/>
          </a:p>
          <a:p>
            <a:endParaRPr lang="en-US"/>
          </a:p>
        </p:txBody>
      </p:sp>
    </p:spTree>
    <p:extLst>
      <p:ext uri="{BB962C8B-B14F-4D97-AF65-F5344CB8AC3E}">
        <p14:creationId xmlns:p14="http://schemas.microsoft.com/office/powerpoint/2010/main" val="299987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Carbon nanotubes (CNTs) are a smart raw material  based on carbon that are extremely small (nano scale; a human hair is approx. 100,000 times larger than a single carbon nanotube) and react to hydrocarbons (oil) to create a leak sensor.</a:t>
            </a:r>
          </a:p>
        </p:txBody>
      </p:sp>
    </p:spTree>
    <p:extLst>
      <p:ext uri="{BB962C8B-B14F-4D97-AF65-F5344CB8AC3E}">
        <p14:creationId xmlns:p14="http://schemas.microsoft.com/office/powerpoint/2010/main" val="1507497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r>
              <a:rPr lang="de-DE"/>
              <a:t>Edge Device: Zone 2 explosion protection</a:t>
            </a:r>
          </a:p>
          <a:p>
            <a:r>
              <a:rPr lang="de-DE"/>
              <a:t>Sensor: Zone 0 explosion protection</a:t>
            </a:r>
            <a:endParaRPr lang="en-US"/>
          </a:p>
        </p:txBody>
      </p:sp>
    </p:spTree>
    <p:extLst>
      <p:ext uri="{BB962C8B-B14F-4D97-AF65-F5344CB8AC3E}">
        <p14:creationId xmlns:p14="http://schemas.microsoft.com/office/powerpoint/2010/main" val="3821879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solidFill>
                <a:srgbClr val="000000"/>
              </a:solidFill>
              <a:latin typeface="Calibri"/>
              <a:cs typeface="Calibri"/>
            </a:endParaRPr>
          </a:p>
        </p:txBody>
      </p:sp>
    </p:spTree>
    <p:extLst>
      <p:ext uri="{BB962C8B-B14F-4D97-AF65-F5344CB8AC3E}">
        <p14:creationId xmlns:p14="http://schemas.microsoft.com/office/powerpoint/2010/main" val="3782810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 name="Shape 484"/>
          <p:cNvSpPr>
            <a:spLocks noGrp="1" noRot="1" noChangeAspect="1"/>
          </p:cNvSpPr>
          <p:nvPr>
            <p:ph type="sldImg"/>
          </p:nvPr>
        </p:nvSpPr>
        <p:spPr>
          <a:xfrm>
            <a:off x="381000" y="685800"/>
            <a:ext cx="6096000" cy="3429000"/>
          </a:xfrm>
          <a:prstGeom prst="rect">
            <a:avLst/>
          </a:prstGeom>
        </p:spPr>
        <p:txBody>
          <a:bodyPr/>
          <a:lstStyle/>
          <a:p>
            <a:endParaRPr/>
          </a:p>
        </p:txBody>
      </p:sp>
      <p:sp>
        <p:nvSpPr>
          <p:cNvPr id="485" name="Shape 485"/>
          <p:cNvSpPr>
            <a:spLocks noGrp="1"/>
          </p:cNvSpPr>
          <p:nvPr>
            <p:ph type="body" sz="quarter" idx="1"/>
          </p:nvPr>
        </p:nvSpPr>
        <p:spPr>
          <a:prstGeom prst="rect">
            <a:avLst/>
          </a:prstGeom>
        </p:spPr>
        <p:txBody>
          <a:bodyPr/>
          <a:lstStyle/>
          <a:p>
            <a:endParaRPr lang="en-US" sz="2400"/>
          </a:p>
        </p:txBody>
      </p:sp>
    </p:spTree>
    <p:extLst>
      <p:ext uri="{BB962C8B-B14F-4D97-AF65-F5344CB8AC3E}">
        <p14:creationId xmlns:p14="http://schemas.microsoft.com/office/powerpoint/2010/main" val="3679866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ti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ti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ti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bg>
      <p:bgPr>
        <a:solidFill>
          <a:srgbClr val="000000"/>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0ACF91F-0108-4B7A-B81B-3385082F4586}"/>
              </a:ext>
            </a:extLst>
          </p:cNvPr>
          <p:cNvPicPr>
            <a:picLocks noChangeAspect="1"/>
          </p:cNvPicPr>
          <p:nvPr userDrawn="1"/>
        </p:nvPicPr>
        <p:blipFill>
          <a:blip r:embed="rId3">
            <a:alphaModFix amt="81000"/>
          </a:blip>
          <a:stretch>
            <a:fillRect/>
          </a:stretch>
        </p:blipFill>
        <p:spPr>
          <a:xfrm>
            <a:off x="0" y="0"/>
            <a:ext cx="12188389" cy="6858000"/>
          </a:xfrm>
          <a:prstGeom prst="rect">
            <a:avLst/>
          </a:prstGeom>
        </p:spPr>
      </p:pic>
      <p:pic>
        <p:nvPicPr>
          <p:cNvPr id="13" name="Picture 12">
            <a:extLst>
              <a:ext uri="{FF2B5EF4-FFF2-40B4-BE49-F238E27FC236}">
                <a16:creationId xmlns:a16="http://schemas.microsoft.com/office/drawing/2014/main" id="{749EE6B8-32A4-4015-A76D-2B5C3E1A4D6B}"/>
              </a:ext>
            </a:extLst>
          </p:cNvPr>
          <p:cNvPicPr>
            <a:picLocks noChangeAspect="1"/>
          </p:cNvPicPr>
          <p:nvPr userDrawn="1"/>
        </p:nvPicPr>
        <p:blipFill>
          <a:blip r:embed="rId4"/>
          <a:stretch>
            <a:fillRect/>
          </a:stretch>
        </p:blipFill>
        <p:spPr>
          <a:xfrm>
            <a:off x="3972232" y="1722366"/>
            <a:ext cx="5545395" cy="3744437"/>
          </a:xfrm>
          <a:prstGeom prst="rect">
            <a:avLst/>
          </a:prstGeom>
        </p:spPr>
      </p:pic>
      <p:graphicFrame>
        <p:nvGraphicFramePr>
          <p:cNvPr id="9" name="Objekt 8" hidden="1">
            <a:extLst>
              <a:ext uri="{FF2B5EF4-FFF2-40B4-BE49-F238E27FC236}">
                <a16:creationId xmlns:a16="http://schemas.microsoft.com/office/drawing/2014/main" id="{ADAC5C95-CD05-4C1D-8626-590CD139BF73}"/>
              </a:ext>
            </a:extLst>
          </p:cNvPr>
          <p:cNvGraphicFramePr>
            <a:graphicFrameLocks noChangeAspect="1"/>
          </p:cNvGraphicFramePr>
          <p:nvPr userDrawn="1">
            <p:custDataLst>
              <p:tags r:id="rId1"/>
            </p:custDataLst>
            <p:extLst>
              <p:ext uri="{D42A27DB-BD31-4B8C-83A1-F6EECF244321}">
                <p14:modId xmlns:p14="http://schemas.microsoft.com/office/powerpoint/2010/main" val="19942788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9" name="Objekt 8" hidden="1">
                        <a:extLst>
                          <a:ext uri="{FF2B5EF4-FFF2-40B4-BE49-F238E27FC236}">
                            <a16:creationId xmlns:a16="http://schemas.microsoft.com/office/drawing/2014/main" id="{ADAC5C95-CD05-4C1D-8626-590CD139BF7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575140-C9A3-4558-AA62-7CE75CA0D246}"/>
              </a:ext>
            </a:extLst>
          </p:cNvPr>
          <p:cNvSpPr>
            <a:spLocks noGrp="1"/>
          </p:cNvSpPr>
          <p:nvPr>
            <p:ph type="title" hasCustomPrompt="1"/>
          </p:nvPr>
        </p:nvSpPr>
        <p:spPr>
          <a:xfrm>
            <a:off x="811390" y="859536"/>
            <a:ext cx="5921105" cy="2636699"/>
          </a:xfrm>
        </p:spPr>
        <p:txBody>
          <a:bodyPr vert="horz">
            <a:noAutofit/>
          </a:bodyPr>
          <a:lstStyle>
            <a:lvl1pPr>
              <a:defRPr sz="6400" b="1" cap="all" baseline="0">
                <a:solidFill>
                  <a:schemeClr val="bg1"/>
                </a:solidFill>
              </a:defRPr>
            </a:lvl1pPr>
          </a:lstStyle>
          <a:p>
            <a:r>
              <a:rPr lang="en-US"/>
              <a:t>TITLE PRESENTATION</a:t>
            </a:r>
          </a:p>
        </p:txBody>
      </p:sp>
      <p:sp>
        <p:nvSpPr>
          <p:cNvPr id="6" name="Rectangle 4">
            <a:extLst>
              <a:ext uri="{FF2B5EF4-FFF2-40B4-BE49-F238E27FC236}">
                <a16:creationId xmlns:a16="http://schemas.microsoft.com/office/drawing/2014/main" id="{D1893382-6FDE-408C-BAD7-9F8A9AED682A}"/>
              </a:ext>
            </a:extLst>
          </p:cNvPr>
          <p:cNvSpPr>
            <a:spLocks noGrp="1" noChangeArrowheads="1"/>
          </p:cNvSpPr>
          <p:nvPr>
            <p:ph type="subTitle" idx="1" hasCustomPrompt="1"/>
          </p:nvPr>
        </p:nvSpPr>
        <p:spPr>
          <a:xfrm>
            <a:off x="811389" y="5583534"/>
            <a:ext cx="7978659" cy="815839"/>
          </a:xfrm>
        </p:spPr>
        <p:txBody>
          <a:bodyPr/>
          <a:lstStyle>
            <a:lvl1pPr marL="0" indent="0">
              <a:spcAft>
                <a:spcPts val="0"/>
              </a:spcAft>
              <a:buFontTx/>
              <a:buNone/>
              <a:defRPr b="0" i="0">
                <a:solidFill>
                  <a:schemeClr val="bg1"/>
                </a:solidFill>
                <a:latin typeface="+mn-lt"/>
              </a:defRPr>
            </a:lvl1pPr>
          </a:lstStyle>
          <a:p>
            <a:r>
              <a:rPr lang="en-US"/>
              <a:t>Author 1, Author 2 | Location | Date</a:t>
            </a:r>
          </a:p>
        </p:txBody>
      </p:sp>
      <p:sp>
        <p:nvSpPr>
          <p:cNvPr id="5" name="Text Placeholder 4">
            <a:extLst>
              <a:ext uri="{FF2B5EF4-FFF2-40B4-BE49-F238E27FC236}">
                <a16:creationId xmlns:a16="http://schemas.microsoft.com/office/drawing/2014/main" id="{A2731E42-B1FC-4A3E-8E51-86012BB0F528}"/>
              </a:ext>
            </a:extLst>
          </p:cNvPr>
          <p:cNvSpPr>
            <a:spLocks noGrp="1"/>
          </p:cNvSpPr>
          <p:nvPr>
            <p:ph type="body" sz="quarter" idx="10" hasCustomPrompt="1"/>
          </p:nvPr>
        </p:nvSpPr>
        <p:spPr>
          <a:xfrm>
            <a:off x="816864" y="4547616"/>
            <a:ext cx="7973568" cy="792480"/>
          </a:xfrm>
          <a:ln w="12700">
            <a:miter lim="400000"/>
          </a:ln>
        </p:spPr>
        <p:txBody>
          <a:bodyPr wrap="square" lIns="0" tIns="0" rIns="0" bIns="0">
            <a:noAutofit/>
          </a:bodyPr>
          <a:lstStyle>
            <a:lvl1pPr marL="0" indent="0">
              <a:buNone/>
              <a:defRPr kumimoji="0" lang="en-US" sz="3200" u="none" strike="noStrike" kern="1200" cap="none" spc="0" normalizeH="0" baseline="0" noProof="0" dirty="0">
                <a:ln>
                  <a:noFill/>
                </a:ln>
                <a:solidFill>
                  <a:schemeClr val="bg1"/>
                </a:solidFill>
                <a:effectLst/>
                <a:uFillTx/>
                <a:latin typeface="Segoe UI"/>
                <a:ea typeface="+mj-ea"/>
                <a:cs typeface="Segoe UI"/>
              </a:defRPr>
            </a:lvl1pPr>
          </a:lstStyle>
          <a:p>
            <a:pPr lvl="0">
              <a:lnSpc>
                <a:spcPct val="85000"/>
              </a:lnSpc>
              <a:spcAft>
                <a:spcPct val="0"/>
              </a:spcAft>
            </a:pPr>
            <a:r>
              <a:rPr lang="en-US"/>
              <a:t>Sub-Title</a:t>
            </a:r>
          </a:p>
        </p:txBody>
      </p:sp>
      <p:pic>
        <p:nvPicPr>
          <p:cNvPr id="19" name="Iphone X in Hand.png" descr="Iphone X in Hand.png">
            <a:extLst>
              <a:ext uri="{FF2B5EF4-FFF2-40B4-BE49-F238E27FC236}">
                <a16:creationId xmlns:a16="http://schemas.microsoft.com/office/drawing/2014/main" id="{C07D817C-9AED-42A4-9C14-6C27362FEDD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9007530" y="-109144"/>
            <a:ext cx="3184471" cy="6967143"/>
          </a:xfrm>
          <a:prstGeom prst="rect">
            <a:avLst/>
          </a:prstGeom>
          <a:ln w="12700" cap="flat">
            <a:noFill/>
            <a:miter lim="400000"/>
          </a:ln>
          <a:effectLst/>
        </p:spPr>
      </p:pic>
    </p:spTree>
    <p:extLst>
      <p:ext uri="{BB962C8B-B14F-4D97-AF65-F5344CB8AC3E}">
        <p14:creationId xmlns:p14="http://schemas.microsoft.com/office/powerpoint/2010/main" val="2881214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Red and whit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2FDC61-FDDB-454D-BC1E-17C6AE3FC575}"/>
              </a:ext>
            </a:extLst>
          </p:cNvPr>
          <p:cNvPicPr>
            <a:picLocks noChangeAspect="1"/>
          </p:cNvPicPr>
          <p:nvPr userDrawn="1"/>
        </p:nvPicPr>
        <p:blipFill rotWithShape="1">
          <a:blip r:embed="rId3"/>
          <a:srcRect t="8691" b="3740"/>
          <a:stretch/>
        </p:blipFill>
        <p:spPr>
          <a:xfrm>
            <a:off x="6194491" y="426224"/>
            <a:ext cx="4599732" cy="6431776"/>
          </a:xfrm>
          <a:prstGeom prst="rect">
            <a:avLst/>
          </a:prstGeom>
        </p:spPr>
      </p:pic>
      <p:pic>
        <p:nvPicPr>
          <p:cNvPr id="352" name="LOCP_NEG.png" descr="LOCP_NEG.png"/>
          <p:cNvPicPr>
            <a:picLocks noChangeAspect="1"/>
          </p:cNvPicPr>
          <p:nvPr/>
        </p:nvPicPr>
        <p:blipFill>
          <a:blip r:embed="rId4"/>
          <a:stretch>
            <a:fillRect/>
          </a:stretch>
        </p:blipFill>
        <p:spPr>
          <a:xfrm>
            <a:off x="10076249" y="6095904"/>
            <a:ext cx="1932391" cy="617840"/>
          </a:xfrm>
          <a:prstGeom prst="rect">
            <a:avLst/>
          </a:prstGeom>
          <a:ln w="12700">
            <a:miter lim="400000"/>
          </a:ln>
        </p:spPr>
      </p:pic>
      <p:sp>
        <p:nvSpPr>
          <p:cNvPr id="12" name="Espace réservé du texte 11">
            <a:extLst>
              <a:ext uri="{FF2B5EF4-FFF2-40B4-BE49-F238E27FC236}">
                <a16:creationId xmlns:a16="http://schemas.microsoft.com/office/drawing/2014/main" id="{72D7F71D-B670-4552-A032-B87821C3B119}"/>
              </a:ext>
            </a:extLst>
          </p:cNvPr>
          <p:cNvSpPr>
            <a:spLocks noGrp="1"/>
          </p:cNvSpPr>
          <p:nvPr>
            <p:ph type="body" sz="quarter" idx="16" hasCustomPrompt="1"/>
          </p:nvPr>
        </p:nvSpPr>
        <p:spPr>
          <a:xfrm>
            <a:off x="1039532" y="2476814"/>
            <a:ext cx="5469467" cy="3520575"/>
          </a:xfrm>
        </p:spPr>
        <p:txBody>
          <a:bodyPr/>
          <a:lstStyle>
            <a:lvl1pPr marL="0" indent="0">
              <a:buNone/>
              <a:defRPr sz="8266" b="1">
                <a:solidFill>
                  <a:schemeClr val="bg1"/>
                </a:solidFill>
              </a:defRPr>
            </a:lvl1pPr>
          </a:lstStyle>
          <a:p>
            <a:pPr lvl="0"/>
            <a:r>
              <a:rPr lang="fr-FR"/>
              <a:t>TITLE</a:t>
            </a:r>
          </a:p>
        </p:txBody>
      </p:sp>
      <p:sp>
        <p:nvSpPr>
          <p:cNvPr id="13" name="ZoneTexte 12">
            <a:extLst>
              <a:ext uri="{FF2B5EF4-FFF2-40B4-BE49-F238E27FC236}">
                <a16:creationId xmlns:a16="http://schemas.microsoft.com/office/drawing/2014/main" id="{635D0CB6-51EF-413F-8DDC-3267059A40E7}"/>
              </a:ext>
            </a:extLst>
          </p:cNvPr>
          <p:cNvSpPr txBox="1"/>
          <p:nvPr userDrawn="1"/>
        </p:nvSpPr>
        <p:spPr>
          <a:xfrm>
            <a:off x="1039533" y="1694331"/>
            <a:ext cx="2004459" cy="412805"/>
          </a:xfrm>
          <a:prstGeom prst="rect">
            <a:avLst/>
          </a:prstGeom>
          <a:noFill/>
        </p:spPr>
        <p:txBody>
          <a:bodyPr wrap="none" rtlCol="0">
            <a:spAutoFit/>
          </a:bodyPr>
          <a:lstStyle/>
          <a:p>
            <a:pPr algn="l">
              <a:lnSpc>
                <a:spcPct val="105000"/>
              </a:lnSpc>
            </a:pPr>
            <a:r>
              <a:rPr lang="fr-FR" sz="2133" err="1">
                <a:solidFill>
                  <a:schemeClr val="bg1"/>
                </a:solidFill>
                <a:latin typeface="+mn-lt"/>
              </a:rPr>
              <a:t>Let’s</a:t>
            </a:r>
            <a:r>
              <a:rPr lang="fr-FR" sz="2133">
                <a:solidFill>
                  <a:schemeClr val="bg1"/>
                </a:solidFill>
                <a:latin typeface="+mn-lt"/>
              </a:rPr>
              <a:t> talk about</a:t>
            </a:r>
          </a:p>
        </p:txBody>
      </p:sp>
      <p:sp>
        <p:nvSpPr>
          <p:cNvPr id="11" name="Picture Placeholder 3">
            <a:extLst>
              <a:ext uri="{FF2B5EF4-FFF2-40B4-BE49-F238E27FC236}">
                <a16:creationId xmlns:a16="http://schemas.microsoft.com/office/drawing/2014/main" id="{3171C29B-FF87-4405-916E-9D33A108E93C}"/>
              </a:ext>
            </a:extLst>
          </p:cNvPr>
          <p:cNvSpPr>
            <a:spLocks noGrp="1"/>
          </p:cNvSpPr>
          <p:nvPr>
            <p:ph type="pic" sz="quarter" idx="15" hasCustomPrompt="1"/>
          </p:nvPr>
        </p:nvSpPr>
        <p:spPr>
          <a:xfrm>
            <a:off x="7697817" y="874166"/>
            <a:ext cx="1900768" cy="4078817"/>
          </a:xfrm>
          <a:prstGeom prst="roundRect">
            <a:avLst>
              <a:gd name="adj" fmla="val 10350"/>
            </a:avLst>
          </a:prstGeom>
          <a:solidFill>
            <a:schemeClr val="tx2"/>
          </a:solidFill>
          <a:ln w="12700">
            <a:miter lim="400000"/>
          </a:ln>
        </p:spPr>
        <p:txBody>
          <a:bodyPr lIns="137160" tIns="594360" rIns="137160"/>
          <a:lstStyle>
            <a:lvl1pPr marL="0" indent="0">
              <a:buNone/>
              <a:defRPr b="1">
                <a:solidFill>
                  <a:schemeClr val="bg1"/>
                </a:solidFill>
              </a:defRPr>
            </a:lvl1pPr>
          </a:lstStyle>
          <a:p>
            <a:r>
              <a:rPr lang="en-US"/>
              <a:t>INSERT SCREEN SHOT HERE</a:t>
            </a:r>
          </a:p>
        </p:txBody>
      </p:sp>
    </p:spTree>
    <p:extLst>
      <p:ext uri="{BB962C8B-B14F-4D97-AF65-F5344CB8AC3E}">
        <p14:creationId xmlns:p14="http://schemas.microsoft.com/office/powerpoint/2010/main" val="1365118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ntent single">
    <p:spTree>
      <p:nvGrpSpPr>
        <p:cNvPr id="1" name=""/>
        <p:cNvGrpSpPr/>
        <p:nvPr/>
      </p:nvGrpSpPr>
      <p:grpSpPr>
        <a:xfrm>
          <a:off x="0" y="0"/>
          <a:ext cx="0" cy="0"/>
          <a:chOff x="0" y="0"/>
          <a:chExt cx="0" cy="0"/>
        </a:xfrm>
      </p:grpSpPr>
      <p:pic>
        <p:nvPicPr>
          <p:cNvPr id="7" name="Picture 6" descr="A picture containing green, factory, platform, stair&#10;&#10;Description automatically generated">
            <a:extLst>
              <a:ext uri="{FF2B5EF4-FFF2-40B4-BE49-F238E27FC236}">
                <a16:creationId xmlns:a16="http://schemas.microsoft.com/office/drawing/2014/main" id="{BA10D945-3D38-4989-9082-A835E32A70F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1"/>
            <a:ext cx="12192000" cy="2311748"/>
          </a:xfrm>
          <a:prstGeom prst="rect">
            <a:avLst/>
          </a:prstGeom>
          <a:ln w="12700">
            <a:miter lim="400000"/>
          </a:ln>
        </p:spPr>
      </p:pic>
      <p:sp>
        <p:nvSpPr>
          <p:cNvPr id="2" name="Titel 1"/>
          <p:cNvSpPr>
            <a:spLocks noGrp="1"/>
          </p:cNvSpPr>
          <p:nvPr>
            <p:ph type="title" hasCustomPrompt="1"/>
          </p:nvPr>
        </p:nvSpPr>
        <p:spPr>
          <a:xfrm>
            <a:off x="590550" y="583566"/>
            <a:ext cx="11000317" cy="379508"/>
          </a:xfrm>
        </p:spPr>
        <p:txBody>
          <a:bodyPr/>
          <a:lstStyle>
            <a:lvl1pPr>
              <a:defRPr cap="all" baseline="0">
                <a:solidFill>
                  <a:schemeClr val="bg1"/>
                </a:solidFill>
              </a:defRPr>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chemeClr val="bg1"/>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1" y="2540000"/>
            <a:ext cx="11000316" cy="3479801"/>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1119931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ntent single">
    <p:bg>
      <p:bgPr>
        <a:solidFill>
          <a:srgbClr val="000000"/>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E2EA082-8DB7-4882-A246-DF6AAD31ADB7}"/>
              </a:ext>
            </a:extLst>
          </p:cNvPr>
          <p:cNvPicPr>
            <a:picLocks noChangeAspect="1"/>
          </p:cNvPicPr>
          <p:nvPr userDrawn="1"/>
        </p:nvPicPr>
        <p:blipFill>
          <a:blip r:embed="rId2">
            <a:alphaModFix amt="81000"/>
          </a:blip>
          <a:stretch>
            <a:fillRect/>
          </a:stretch>
        </p:blipFill>
        <p:spPr>
          <a:xfrm>
            <a:off x="0" y="0"/>
            <a:ext cx="12188389" cy="6858000"/>
          </a:xfrm>
          <a:prstGeom prst="rect">
            <a:avLst/>
          </a:prstGeom>
        </p:spPr>
      </p:pic>
      <p:sp>
        <p:nvSpPr>
          <p:cNvPr id="2" name="Titel 1"/>
          <p:cNvSpPr>
            <a:spLocks noGrp="1"/>
          </p:cNvSpPr>
          <p:nvPr>
            <p:ph type="title" hasCustomPrompt="1"/>
          </p:nvPr>
        </p:nvSpPr>
        <p:spPr>
          <a:xfrm>
            <a:off x="590550" y="583566"/>
            <a:ext cx="11000317" cy="379508"/>
          </a:xfrm>
        </p:spPr>
        <p:txBody>
          <a:bodyPr/>
          <a:lstStyle>
            <a:lvl1pPr>
              <a:defRPr cap="all" baseline="0">
                <a:solidFill>
                  <a:schemeClr val="bg1"/>
                </a:solidFill>
              </a:defRPr>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chemeClr val="bg1"/>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1" y="1859617"/>
            <a:ext cx="11000316" cy="4160184"/>
          </a:xfrm>
        </p:spPr>
        <p:txBody>
          <a:bodyPr/>
          <a:lstStyle>
            <a:lvl1pPr>
              <a:buClr>
                <a:srgbClr val="FFFFFF"/>
              </a:buClr>
              <a:defRPr>
                <a:solidFill>
                  <a:schemeClr val="bg1"/>
                </a:solidFill>
              </a:defRPr>
            </a:lvl1pPr>
            <a:lvl2pPr>
              <a:buClr>
                <a:srgbClr val="FFFFFF"/>
              </a:buClr>
              <a:defRPr>
                <a:solidFill>
                  <a:schemeClr val="bg1"/>
                </a:solidFill>
              </a:defRPr>
            </a:lvl2pPr>
            <a:lvl3pPr>
              <a:buClr>
                <a:srgbClr val="FFFFFF"/>
              </a:buClr>
              <a:defRPr>
                <a:solidFill>
                  <a:schemeClr val="bg1"/>
                </a:solidFill>
              </a:defRPr>
            </a:lvl3pPr>
            <a:lvl4pPr>
              <a:buClr>
                <a:srgbClr val="FFFFFF"/>
              </a:buClr>
              <a:defRPr>
                <a:solidFill>
                  <a:schemeClr val="bg1"/>
                </a:solidFill>
              </a:defRPr>
            </a:lvl4pPr>
            <a:lvl5pPr>
              <a:buClr>
                <a:srgbClr val="FFFFFF"/>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pic>
        <p:nvPicPr>
          <p:cNvPr id="7" name="LOCP_NEG.png" descr="LOCP_NEG.png">
            <a:extLst>
              <a:ext uri="{FF2B5EF4-FFF2-40B4-BE49-F238E27FC236}">
                <a16:creationId xmlns:a16="http://schemas.microsoft.com/office/drawing/2014/main" id="{00315BA9-6020-4C3C-9AF3-70B5F8661C83}"/>
              </a:ext>
            </a:extLst>
          </p:cNvPr>
          <p:cNvPicPr>
            <a:picLocks noChangeAspect="1"/>
          </p:cNvPicPr>
          <p:nvPr userDrawn="1"/>
        </p:nvPicPr>
        <p:blipFill>
          <a:blip r:embed="rId3"/>
          <a:stretch>
            <a:fillRect/>
          </a:stretch>
        </p:blipFill>
        <p:spPr>
          <a:xfrm>
            <a:off x="10076249" y="6095904"/>
            <a:ext cx="1932391" cy="617840"/>
          </a:xfrm>
          <a:prstGeom prst="rect">
            <a:avLst/>
          </a:prstGeom>
          <a:ln w="12700">
            <a:miter lim="400000"/>
          </a:ln>
        </p:spPr>
      </p:pic>
    </p:spTree>
    <p:extLst>
      <p:ext uri="{BB962C8B-B14F-4D97-AF65-F5344CB8AC3E}">
        <p14:creationId xmlns:p14="http://schemas.microsoft.com/office/powerpoint/2010/main" val="616084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 single">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30974B7C-5BE9-4BD1-82F0-25A1C94AB32F}"/>
              </a:ext>
            </a:extLst>
          </p:cNvPr>
          <p:cNvSpPr/>
          <p:nvPr userDrawn="1"/>
        </p:nvSpPr>
        <p:spPr>
          <a:xfrm>
            <a:off x="0" y="-1"/>
            <a:ext cx="12192003" cy="2311748"/>
          </a:xfrm>
          <a:prstGeom prst="rect">
            <a:avLst/>
          </a:prstGeom>
          <a:solidFill>
            <a:srgbClr val="000000"/>
          </a:solidFill>
          <a:ln w="12700">
            <a:miter lim="400000"/>
          </a:ln>
        </p:spPr>
        <p:txBody>
          <a:bodyPr lIns="62399" tIns="62399" rIns="62399" bIns="62399"/>
          <a:lstStyle/>
          <a:p>
            <a:pPr marL="0" marR="0" lvl="0" indent="0" algn="l" defTabSz="121914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Segoe UI"/>
              <a:cs typeface="Segoe UI"/>
              <a:sym typeface="Segoe UI"/>
            </a:endParaRPr>
          </a:p>
        </p:txBody>
      </p:sp>
      <p:pic>
        <p:nvPicPr>
          <p:cNvPr id="9" name="pipes.jpg" descr="pipes.jpg">
            <a:extLst>
              <a:ext uri="{FF2B5EF4-FFF2-40B4-BE49-F238E27FC236}">
                <a16:creationId xmlns:a16="http://schemas.microsoft.com/office/drawing/2014/main" id="{FDB20A38-6DFA-48B9-B70C-5BAC812A94B9}"/>
              </a:ext>
            </a:extLst>
          </p:cNvPr>
          <p:cNvPicPr>
            <a:picLocks noChangeAspect="1"/>
          </p:cNvPicPr>
          <p:nvPr userDrawn="1"/>
        </p:nvPicPr>
        <p:blipFill rotWithShape="1">
          <a:blip r:embed="rId2" cstate="print">
            <a:alphaModFix amt="91043"/>
            <a:extLst>
              <a:ext uri="{28A0092B-C50C-407E-A947-70E740481C1C}">
                <a14:useLocalDpi xmlns:a14="http://schemas.microsoft.com/office/drawing/2010/main"/>
              </a:ext>
            </a:extLst>
          </a:blip>
          <a:srcRect/>
          <a:stretch/>
        </p:blipFill>
        <p:spPr>
          <a:xfrm>
            <a:off x="1" y="0"/>
            <a:ext cx="12192001" cy="2311747"/>
          </a:xfrm>
          <a:prstGeom prst="rect">
            <a:avLst/>
          </a:prstGeom>
          <a:ln w="12700">
            <a:miter lim="400000"/>
          </a:ln>
        </p:spPr>
      </p:pic>
      <p:sp>
        <p:nvSpPr>
          <p:cNvPr id="2" name="Titel 1"/>
          <p:cNvSpPr>
            <a:spLocks noGrp="1"/>
          </p:cNvSpPr>
          <p:nvPr>
            <p:ph type="title" hasCustomPrompt="1"/>
          </p:nvPr>
        </p:nvSpPr>
        <p:spPr>
          <a:xfrm>
            <a:off x="590550" y="583566"/>
            <a:ext cx="11000317" cy="379508"/>
          </a:xfrm>
        </p:spPr>
        <p:txBody>
          <a:bodyPr/>
          <a:lstStyle>
            <a:lvl1pPr>
              <a:defRPr cap="all" baseline="0">
                <a:solidFill>
                  <a:schemeClr val="bg1"/>
                </a:solidFill>
              </a:defRPr>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chemeClr val="bg1"/>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1" y="2540000"/>
            <a:ext cx="11000316" cy="3479801"/>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19034151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26201740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doub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2" y="1856317"/>
            <a:ext cx="5204883" cy="4163483"/>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7" name="Content Placeholder 10">
            <a:extLst>
              <a:ext uri="{FF2B5EF4-FFF2-40B4-BE49-F238E27FC236}">
                <a16:creationId xmlns:a16="http://schemas.microsoft.com/office/drawing/2014/main" id="{5A3C1F6B-F8A0-41D7-B528-591D504C9BF0}"/>
              </a:ext>
            </a:extLst>
          </p:cNvPr>
          <p:cNvSpPr>
            <a:spLocks noGrp="1"/>
          </p:cNvSpPr>
          <p:nvPr>
            <p:ph sz="quarter" idx="16" hasCustomPrompt="1"/>
          </p:nvPr>
        </p:nvSpPr>
        <p:spPr>
          <a:xfrm>
            <a:off x="6385983" y="1856317"/>
            <a:ext cx="5204883" cy="4163483"/>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67487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double">
    <p:spTree>
      <p:nvGrpSpPr>
        <p:cNvPr id="1" name=""/>
        <p:cNvGrpSpPr/>
        <p:nvPr/>
      </p:nvGrpSpPr>
      <p:grpSpPr>
        <a:xfrm>
          <a:off x="0" y="0"/>
          <a:ext cx="0" cy="0"/>
          <a:chOff x="0" y="0"/>
          <a:chExt cx="0" cy="0"/>
        </a:xfrm>
      </p:grpSpPr>
      <p:pic>
        <p:nvPicPr>
          <p:cNvPr id="12" name="Picture 11" descr="A picture containing green, factory, platform, stair&#10;&#10;Description automatically generated">
            <a:extLst>
              <a:ext uri="{FF2B5EF4-FFF2-40B4-BE49-F238E27FC236}">
                <a16:creationId xmlns:a16="http://schemas.microsoft.com/office/drawing/2014/main" id="{508662B5-A244-4657-A4C1-D822BB260AA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1"/>
            <a:ext cx="12192000" cy="2311748"/>
          </a:xfrm>
          <a:prstGeom prst="rect">
            <a:avLst/>
          </a:prstGeom>
          <a:ln w="12700">
            <a:miter lim="400000"/>
          </a:ln>
        </p:spPr>
      </p:pic>
      <p:sp>
        <p:nvSpPr>
          <p:cNvPr id="2" name="Titel 1"/>
          <p:cNvSpPr>
            <a:spLocks noGrp="1"/>
          </p:cNvSpPr>
          <p:nvPr>
            <p:ph type="title" hasCustomPrompt="1"/>
          </p:nvPr>
        </p:nvSpPr>
        <p:spPr>
          <a:xfrm>
            <a:off x="590550" y="583566"/>
            <a:ext cx="11000317" cy="379508"/>
          </a:xfrm>
        </p:spPr>
        <p:txBody>
          <a:bodyPr/>
          <a:lstStyle>
            <a:lvl1pPr>
              <a:defRPr cap="all" baseline="0">
                <a:solidFill>
                  <a:schemeClr val="bg1"/>
                </a:solidFill>
              </a:defRPr>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chemeClr val="bg1"/>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2" y="2540000"/>
            <a:ext cx="5204883" cy="34798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7" name="Content Placeholder 10">
            <a:extLst>
              <a:ext uri="{FF2B5EF4-FFF2-40B4-BE49-F238E27FC236}">
                <a16:creationId xmlns:a16="http://schemas.microsoft.com/office/drawing/2014/main" id="{5A3C1F6B-F8A0-41D7-B528-591D504C9BF0}"/>
              </a:ext>
            </a:extLst>
          </p:cNvPr>
          <p:cNvSpPr>
            <a:spLocks noGrp="1"/>
          </p:cNvSpPr>
          <p:nvPr>
            <p:ph sz="quarter" idx="16" hasCustomPrompt="1"/>
          </p:nvPr>
        </p:nvSpPr>
        <p:spPr>
          <a:xfrm>
            <a:off x="6385983" y="2540000"/>
            <a:ext cx="5204883" cy="3479800"/>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534053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double_w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8" name="Inhaltsplatzhalter 2">
            <a:extLst>
              <a:ext uri="{FF2B5EF4-FFF2-40B4-BE49-F238E27FC236}">
                <a16:creationId xmlns:a16="http://schemas.microsoft.com/office/drawing/2014/main" id="{1681E6B6-7EAF-4034-893F-C43EBCDE54E6}"/>
              </a:ext>
            </a:extLst>
          </p:cNvPr>
          <p:cNvSpPr>
            <a:spLocks noGrp="1"/>
          </p:cNvSpPr>
          <p:nvPr>
            <p:ph idx="1" hasCustomPrompt="1"/>
          </p:nvPr>
        </p:nvSpPr>
        <p:spPr>
          <a:xfrm>
            <a:off x="590549" y="3929435"/>
            <a:ext cx="5205984" cy="2090624"/>
          </a:xfrm>
          <a:prstGeom prst="rect">
            <a:avLst/>
          </a:prstGeom>
        </p:spPr>
        <p:txBody>
          <a:bodyPr/>
          <a:lstStyle>
            <a:lvl1pPr>
              <a:defRPr sz="2133"/>
            </a:lvl1pPr>
            <a:lvl2pPr>
              <a:defRPr sz="2133"/>
            </a:lvl2pPr>
            <a:lvl3pPr>
              <a:defRPr sz="2133"/>
            </a:lvl3pPr>
            <a:lvl4pPr>
              <a:defRPr sz="2133"/>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9" name="Bildplatzhalter 2">
            <a:extLst>
              <a:ext uri="{FF2B5EF4-FFF2-40B4-BE49-F238E27FC236}">
                <a16:creationId xmlns:a16="http://schemas.microsoft.com/office/drawing/2014/main" id="{B275CF3D-762A-4392-9C4A-BDA66B0A61EF}"/>
              </a:ext>
            </a:extLst>
          </p:cNvPr>
          <p:cNvSpPr>
            <a:spLocks noGrp="1"/>
          </p:cNvSpPr>
          <p:nvPr>
            <p:ph type="pic" sz="quarter" idx="21"/>
          </p:nvPr>
        </p:nvSpPr>
        <p:spPr>
          <a:xfrm>
            <a:off x="590552" y="1856318"/>
            <a:ext cx="520598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
        <p:nvSpPr>
          <p:cNvPr id="12" name="Inhaltsplatzhalter 2">
            <a:extLst>
              <a:ext uri="{FF2B5EF4-FFF2-40B4-BE49-F238E27FC236}">
                <a16:creationId xmlns:a16="http://schemas.microsoft.com/office/drawing/2014/main" id="{E2DBEC62-B313-49B9-A816-DE6A5A3080B6}"/>
              </a:ext>
            </a:extLst>
          </p:cNvPr>
          <p:cNvSpPr>
            <a:spLocks noGrp="1"/>
          </p:cNvSpPr>
          <p:nvPr>
            <p:ph idx="22" hasCustomPrompt="1"/>
          </p:nvPr>
        </p:nvSpPr>
        <p:spPr>
          <a:xfrm>
            <a:off x="6385983" y="3929435"/>
            <a:ext cx="5205984" cy="2090624"/>
          </a:xfrm>
          <a:prstGeom prst="rect">
            <a:avLst/>
          </a:prstGeom>
        </p:spPr>
        <p:txBody>
          <a:bodyPr/>
          <a:lstStyle>
            <a:lvl1pPr>
              <a:defRPr sz="2133"/>
            </a:lvl1pPr>
            <a:lvl2pPr>
              <a:defRPr sz="2133"/>
            </a:lvl2pPr>
            <a:lvl3pPr>
              <a:defRPr sz="2133"/>
            </a:lvl3pPr>
            <a:lvl4pPr>
              <a:defRPr sz="2133"/>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13" name="Bildplatzhalter 2">
            <a:extLst>
              <a:ext uri="{FF2B5EF4-FFF2-40B4-BE49-F238E27FC236}">
                <a16:creationId xmlns:a16="http://schemas.microsoft.com/office/drawing/2014/main" id="{5304C528-E7F6-4458-B832-DF631EED3120}"/>
              </a:ext>
            </a:extLst>
          </p:cNvPr>
          <p:cNvSpPr>
            <a:spLocks noGrp="1"/>
          </p:cNvSpPr>
          <p:nvPr>
            <p:ph type="pic" sz="quarter" idx="23"/>
          </p:nvPr>
        </p:nvSpPr>
        <p:spPr>
          <a:xfrm>
            <a:off x="6385983" y="1856318"/>
            <a:ext cx="520598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Tree>
    <p:extLst>
      <p:ext uri="{BB962C8B-B14F-4D97-AF65-F5344CB8AC3E}">
        <p14:creationId xmlns:p14="http://schemas.microsoft.com/office/powerpoint/2010/main" val="15054392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double_w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8" name="Inhaltsplatzhalter 2">
            <a:extLst>
              <a:ext uri="{FF2B5EF4-FFF2-40B4-BE49-F238E27FC236}">
                <a16:creationId xmlns:a16="http://schemas.microsoft.com/office/drawing/2014/main" id="{1681E6B6-7EAF-4034-893F-C43EBCDE54E6}"/>
              </a:ext>
            </a:extLst>
          </p:cNvPr>
          <p:cNvSpPr>
            <a:spLocks noGrp="1"/>
          </p:cNvSpPr>
          <p:nvPr>
            <p:ph idx="1" hasCustomPrompt="1"/>
          </p:nvPr>
        </p:nvSpPr>
        <p:spPr>
          <a:xfrm>
            <a:off x="1007531" y="3929435"/>
            <a:ext cx="2279904" cy="2090624"/>
          </a:xfrm>
          <a:prstGeom prst="rect">
            <a:avLst/>
          </a:prstGeom>
        </p:spPr>
        <p:txBody>
          <a:bodyPr/>
          <a:lstStyle>
            <a:lvl1pPr marL="230712" indent="-230712">
              <a:defRPr sz="1600"/>
            </a:lvl1pPr>
            <a:lvl2pPr marL="461422" indent="-198962">
              <a:defRPr sz="1600"/>
            </a:lvl2pPr>
            <a:lvl3pPr marL="683667" indent="-222245">
              <a:defRPr sz="1600"/>
            </a:lvl3pPr>
            <a:lvl4pPr marL="914377" indent="-230712">
              <a:defRPr sz="1600"/>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9" name="Bildplatzhalter 2">
            <a:extLst>
              <a:ext uri="{FF2B5EF4-FFF2-40B4-BE49-F238E27FC236}">
                <a16:creationId xmlns:a16="http://schemas.microsoft.com/office/drawing/2014/main" id="{B275CF3D-762A-4392-9C4A-BDA66B0A61EF}"/>
              </a:ext>
            </a:extLst>
          </p:cNvPr>
          <p:cNvSpPr>
            <a:spLocks noGrp="1"/>
          </p:cNvSpPr>
          <p:nvPr>
            <p:ph type="pic" sz="quarter" idx="21"/>
          </p:nvPr>
        </p:nvSpPr>
        <p:spPr>
          <a:xfrm>
            <a:off x="1007533" y="1856318"/>
            <a:ext cx="227990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
        <p:nvSpPr>
          <p:cNvPr id="19" name="Bildplatzhalter 2">
            <a:extLst>
              <a:ext uri="{FF2B5EF4-FFF2-40B4-BE49-F238E27FC236}">
                <a16:creationId xmlns:a16="http://schemas.microsoft.com/office/drawing/2014/main" id="{42619DD1-2E28-4F18-BFF1-F8D34BA897C3}"/>
              </a:ext>
            </a:extLst>
          </p:cNvPr>
          <p:cNvSpPr>
            <a:spLocks noGrp="1"/>
          </p:cNvSpPr>
          <p:nvPr>
            <p:ph type="pic" sz="quarter" idx="23"/>
          </p:nvPr>
        </p:nvSpPr>
        <p:spPr>
          <a:xfrm>
            <a:off x="3639877" y="1856318"/>
            <a:ext cx="227990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
        <p:nvSpPr>
          <p:cNvPr id="21" name="Bildplatzhalter 2">
            <a:extLst>
              <a:ext uri="{FF2B5EF4-FFF2-40B4-BE49-F238E27FC236}">
                <a16:creationId xmlns:a16="http://schemas.microsoft.com/office/drawing/2014/main" id="{055E14F7-809E-4615-A689-CED3839E64D5}"/>
              </a:ext>
            </a:extLst>
          </p:cNvPr>
          <p:cNvSpPr>
            <a:spLocks noGrp="1"/>
          </p:cNvSpPr>
          <p:nvPr>
            <p:ph type="pic" sz="quarter" idx="25"/>
          </p:nvPr>
        </p:nvSpPr>
        <p:spPr>
          <a:xfrm>
            <a:off x="6272221" y="1856318"/>
            <a:ext cx="227990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
        <p:nvSpPr>
          <p:cNvPr id="23" name="Bildplatzhalter 2">
            <a:extLst>
              <a:ext uri="{FF2B5EF4-FFF2-40B4-BE49-F238E27FC236}">
                <a16:creationId xmlns:a16="http://schemas.microsoft.com/office/drawing/2014/main" id="{23A7B2C8-36FE-4472-AD71-C6EC8041DF9D}"/>
              </a:ext>
            </a:extLst>
          </p:cNvPr>
          <p:cNvSpPr>
            <a:spLocks noGrp="1"/>
          </p:cNvSpPr>
          <p:nvPr>
            <p:ph type="pic" sz="quarter" idx="27"/>
          </p:nvPr>
        </p:nvSpPr>
        <p:spPr>
          <a:xfrm>
            <a:off x="8904565" y="1856318"/>
            <a:ext cx="2279904" cy="1856701"/>
          </a:xfrm>
          <a:prstGeom prst="rect">
            <a:avLst/>
          </a:prstGeom>
          <a:solidFill>
            <a:schemeClr val="bg2"/>
          </a:solidFill>
          <a:ln>
            <a:noFill/>
          </a:ln>
          <a:effectLst/>
        </p:spPr>
        <p:txBody>
          <a:bodyPr wrap="square" lIns="144000" tIns="72000" rIns="90000" bIns="108000" anchor="ctr" anchorCtr="0"/>
          <a:lstStyle>
            <a:lvl1pPr marL="0" indent="0" algn="ctr">
              <a:buFont typeface="Arial" panose="020B0604020202020204" pitchFamily="34" charset="0"/>
              <a:buNone/>
              <a:defRPr lang="de-DE" sz="1067" kern="1200">
                <a:solidFill>
                  <a:schemeClr val="tx1"/>
                </a:solidFill>
                <a:latin typeface="+mn-lt"/>
                <a:ea typeface="ＭＳ Ｐゴシック" pitchFamily="34" charset="-128"/>
                <a:cs typeface="Calibri" panose="020F0502020204030204" pitchFamily="34" charset="0"/>
              </a:defRPr>
            </a:lvl1pPr>
          </a:lstStyle>
          <a:p>
            <a:pPr lvl="0">
              <a:buClr>
                <a:srgbClr val="AFB4B9"/>
              </a:buClr>
            </a:pPr>
            <a:r>
              <a:rPr lang="en-US" noProof="0"/>
              <a:t>Click icon to add picture</a:t>
            </a:r>
          </a:p>
          <a:p>
            <a:pPr lvl="0">
              <a:buClr>
                <a:srgbClr val="AFB4B9"/>
              </a:buClr>
            </a:pPr>
            <a:endParaRPr lang="en-US" noProof="0"/>
          </a:p>
        </p:txBody>
      </p:sp>
      <p:sp>
        <p:nvSpPr>
          <p:cNvPr id="24" name="Inhaltsplatzhalter 2">
            <a:extLst>
              <a:ext uri="{FF2B5EF4-FFF2-40B4-BE49-F238E27FC236}">
                <a16:creationId xmlns:a16="http://schemas.microsoft.com/office/drawing/2014/main" id="{8FEC0BDE-85D8-4308-A321-150DB58EA7E0}"/>
              </a:ext>
            </a:extLst>
          </p:cNvPr>
          <p:cNvSpPr>
            <a:spLocks noGrp="1"/>
          </p:cNvSpPr>
          <p:nvPr>
            <p:ph idx="28" hasCustomPrompt="1"/>
          </p:nvPr>
        </p:nvSpPr>
        <p:spPr>
          <a:xfrm>
            <a:off x="3639876" y="3929435"/>
            <a:ext cx="2279904" cy="2090624"/>
          </a:xfrm>
          <a:prstGeom prst="rect">
            <a:avLst/>
          </a:prstGeom>
        </p:spPr>
        <p:txBody>
          <a:bodyPr/>
          <a:lstStyle>
            <a:lvl1pPr marL="230712" indent="-230712">
              <a:defRPr sz="1600"/>
            </a:lvl1pPr>
            <a:lvl2pPr marL="461422" indent="-198962">
              <a:defRPr sz="1600"/>
            </a:lvl2pPr>
            <a:lvl3pPr marL="683667" indent="-222245">
              <a:defRPr sz="1600"/>
            </a:lvl3pPr>
            <a:lvl4pPr marL="914377" indent="-230712">
              <a:defRPr sz="1600"/>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25" name="Inhaltsplatzhalter 2">
            <a:extLst>
              <a:ext uri="{FF2B5EF4-FFF2-40B4-BE49-F238E27FC236}">
                <a16:creationId xmlns:a16="http://schemas.microsoft.com/office/drawing/2014/main" id="{F26111FD-6FC4-4068-B356-84603618899F}"/>
              </a:ext>
            </a:extLst>
          </p:cNvPr>
          <p:cNvSpPr>
            <a:spLocks noGrp="1"/>
          </p:cNvSpPr>
          <p:nvPr>
            <p:ph idx="29" hasCustomPrompt="1"/>
          </p:nvPr>
        </p:nvSpPr>
        <p:spPr>
          <a:xfrm>
            <a:off x="6272221" y="3929435"/>
            <a:ext cx="2279904" cy="2090624"/>
          </a:xfrm>
          <a:prstGeom prst="rect">
            <a:avLst/>
          </a:prstGeom>
        </p:spPr>
        <p:txBody>
          <a:bodyPr/>
          <a:lstStyle>
            <a:lvl1pPr marL="230712" indent="-230712">
              <a:defRPr sz="1600"/>
            </a:lvl1pPr>
            <a:lvl2pPr marL="461422" indent="-198962">
              <a:defRPr sz="1600"/>
            </a:lvl2pPr>
            <a:lvl3pPr marL="683667" indent="-222245">
              <a:defRPr sz="1600"/>
            </a:lvl3pPr>
            <a:lvl4pPr marL="914377" indent="-230712">
              <a:defRPr sz="1600"/>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26" name="Inhaltsplatzhalter 2">
            <a:extLst>
              <a:ext uri="{FF2B5EF4-FFF2-40B4-BE49-F238E27FC236}">
                <a16:creationId xmlns:a16="http://schemas.microsoft.com/office/drawing/2014/main" id="{3DFA7266-FCAD-4848-A87E-FFE4153DB045}"/>
              </a:ext>
            </a:extLst>
          </p:cNvPr>
          <p:cNvSpPr>
            <a:spLocks noGrp="1"/>
          </p:cNvSpPr>
          <p:nvPr>
            <p:ph idx="30" hasCustomPrompt="1"/>
          </p:nvPr>
        </p:nvSpPr>
        <p:spPr>
          <a:xfrm>
            <a:off x="8904565" y="3929435"/>
            <a:ext cx="2279904" cy="2090624"/>
          </a:xfrm>
          <a:prstGeom prst="rect">
            <a:avLst/>
          </a:prstGeom>
        </p:spPr>
        <p:txBody>
          <a:bodyPr/>
          <a:lstStyle>
            <a:lvl1pPr marL="230712" indent="-230712">
              <a:defRPr sz="1600"/>
            </a:lvl1pPr>
            <a:lvl2pPr marL="461422" indent="-198962">
              <a:defRPr sz="1600"/>
            </a:lvl2pPr>
            <a:lvl3pPr marL="683667" indent="-222245">
              <a:defRPr sz="1600"/>
            </a:lvl3pPr>
            <a:lvl4pPr marL="914377" indent="-230712">
              <a:defRPr sz="1600"/>
            </a:lvl4pPr>
            <a:lvl5pPr>
              <a:defRPr sz="2133"/>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498966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Content RightImages">
    <p:spTree>
      <p:nvGrpSpPr>
        <p:cNvPr id="1" name=""/>
        <p:cNvGrpSpPr/>
        <p:nvPr/>
      </p:nvGrpSpPr>
      <p:grpSpPr>
        <a:xfrm>
          <a:off x="0" y="0"/>
          <a:ext cx="0" cy="0"/>
          <a:chOff x="0" y="0"/>
          <a:chExt cx="0" cy="0"/>
        </a:xfrm>
      </p:grpSpPr>
      <p:sp>
        <p:nvSpPr>
          <p:cNvPr id="8" name="Espace réservé pour une image  2">
            <a:extLst>
              <a:ext uri="{FF2B5EF4-FFF2-40B4-BE49-F238E27FC236}">
                <a16:creationId xmlns:a16="http://schemas.microsoft.com/office/drawing/2014/main" id="{C95E5A82-D8BD-4694-A4CE-EBAE7DF0F496}"/>
              </a:ext>
            </a:extLst>
          </p:cNvPr>
          <p:cNvSpPr>
            <a:spLocks noGrp="1"/>
          </p:cNvSpPr>
          <p:nvPr>
            <p:ph type="pic" sz="half" idx="23"/>
          </p:nvPr>
        </p:nvSpPr>
        <p:spPr>
          <a:xfrm>
            <a:off x="6671733" y="0"/>
            <a:ext cx="5520267" cy="3429000"/>
          </a:xfr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lvl1pPr marL="0" indent="0" algn="ctr">
              <a:buNone/>
              <a:defRPr lang="en-US" dirty="0"/>
            </a:lvl1pPr>
          </a:lstStyle>
          <a:p>
            <a:pPr marL="355484" lvl="0" indent="-355484" algn="ctr"/>
            <a:endParaRPr lang="en-US"/>
          </a:p>
        </p:txBody>
      </p:sp>
      <p:sp>
        <p:nvSpPr>
          <p:cNvPr id="9" name="Espace réservé pour une image  4">
            <a:extLst>
              <a:ext uri="{FF2B5EF4-FFF2-40B4-BE49-F238E27FC236}">
                <a16:creationId xmlns:a16="http://schemas.microsoft.com/office/drawing/2014/main" id="{34E5CA50-B43D-4CB2-908F-C9343B924AAF}"/>
              </a:ext>
            </a:extLst>
          </p:cNvPr>
          <p:cNvSpPr>
            <a:spLocks noGrp="1"/>
          </p:cNvSpPr>
          <p:nvPr>
            <p:ph type="pic" sz="quarter" idx="21"/>
          </p:nvPr>
        </p:nvSpPr>
        <p:spPr>
          <a:xfrm>
            <a:off x="6671731" y="3429000"/>
            <a:ext cx="2735677" cy="3429000"/>
          </a:xfr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lvl1pPr marL="0" indent="0" algn="ctr">
              <a:buNone/>
              <a:defRPr/>
            </a:lvl1pPr>
          </a:lstStyle>
          <a:p>
            <a:endParaRPr lang="en-US"/>
          </a:p>
        </p:txBody>
      </p:sp>
      <p:sp>
        <p:nvSpPr>
          <p:cNvPr id="12" name="Espace réservé pour une image  7">
            <a:extLst>
              <a:ext uri="{FF2B5EF4-FFF2-40B4-BE49-F238E27FC236}">
                <a16:creationId xmlns:a16="http://schemas.microsoft.com/office/drawing/2014/main" id="{B65CA1F2-0F87-47FF-BC11-F076A7B741F6}"/>
              </a:ext>
            </a:extLst>
          </p:cNvPr>
          <p:cNvSpPr>
            <a:spLocks noGrp="1"/>
          </p:cNvSpPr>
          <p:nvPr>
            <p:ph type="pic" sz="quarter" idx="22"/>
          </p:nvPr>
        </p:nvSpPr>
        <p:spPr>
          <a:xfrm>
            <a:off x="9413509" y="3429000"/>
            <a:ext cx="2778492" cy="3429000"/>
          </a:xfrm>
          <a:solidFill>
            <a:schemeClr val="bg1">
              <a:lumMod val="95000"/>
            </a:schemeClr>
          </a:solidFill>
          <a:ln w="9525">
            <a:noFill/>
            <a:miter lim="800000"/>
            <a:headEnd/>
            <a:tailEnd/>
          </a:ln>
        </p:spPr>
        <p:txBody>
          <a:bodyPr vert="horz" wrap="square" lIns="0" tIns="0" rIns="0" bIns="0" numCol="1" anchor="ctr" anchorCtr="0" compatLnSpc="1">
            <a:prstTxWarp prst="textNoShape">
              <a:avLst/>
            </a:prstTxWarp>
          </a:bodyPr>
          <a:lstStyle>
            <a:lvl1pPr marL="0" indent="0" algn="ctr">
              <a:buNone/>
              <a:defRPr/>
            </a:lvl1pPr>
          </a:lstStyle>
          <a:p>
            <a:endParaRPr lang="en-US"/>
          </a:p>
        </p:txBody>
      </p:sp>
      <p:sp>
        <p:nvSpPr>
          <p:cNvPr id="2" name="Titel 1"/>
          <p:cNvSpPr>
            <a:spLocks noGrp="1"/>
          </p:cNvSpPr>
          <p:nvPr>
            <p:ph type="title" hasCustomPrompt="1"/>
          </p:nvPr>
        </p:nvSpPr>
        <p:spPr>
          <a:xfrm>
            <a:off x="590550" y="583566"/>
            <a:ext cx="55012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5501217"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2" y="1856317"/>
            <a:ext cx="5501216" cy="4163483"/>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pic>
        <p:nvPicPr>
          <p:cNvPr id="16" name="LOCP_RED.png" descr="LOCP_RED.png">
            <a:extLst>
              <a:ext uri="{FF2B5EF4-FFF2-40B4-BE49-F238E27FC236}">
                <a16:creationId xmlns:a16="http://schemas.microsoft.com/office/drawing/2014/main" id="{607E441F-C48C-47F7-A15E-F0ECB77F7C2A}"/>
              </a:ext>
            </a:extLst>
          </p:cNvPr>
          <p:cNvPicPr>
            <a:picLocks noChangeAspect="1"/>
          </p:cNvPicPr>
          <p:nvPr userDrawn="1"/>
        </p:nvPicPr>
        <p:blipFill>
          <a:blip r:embed="rId2"/>
          <a:srcRect l="452" r="452"/>
          <a:stretch>
            <a:fillRect/>
          </a:stretch>
        </p:blipFill>
        <p:spPr bwMode="gray">
          <a:xfrm>
            <a:off x="10111318" y="6125634"/>
            <a:ext cx="1744133" cy="560917"/>
          </a:xfrm>
          <a:prstGeom prst="rect">
            <a:avLst/>
          </a:prstGeom>
          <a:noFill/>
          <a:ln w="12700">
            <a:noFill/>
            <a:miter lim="400000"/>
            <a:headEnd/>
            <a:tailEnd/>
          </a:ln>
        </p:spPr>
      </p:pic>
    </p:spTree>
    <p:extLst>
      <p:ext uri="{BB962C8B-B14F-4D97-AF65-F5344CB8AC3E}">
        <p14:creationId xmlns:p14="http://schemas.microsoft.com/office/powerpoint/2010/main" val="26532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over Slide">
    <p:bg>
      <p:bgPr>
        <a:solidFill>
          <a:srgbClr val="000000"/>
        </a:solidFill>
        <a:effectLst/>
      </p:bgPr>
    </p:bg>
    <p:spTree>
      <p:nvGrpSpPr>
        <p:cNvPr id="1" name=""/>
        <p:cNvGrpSpPr/>
        <p:nvPr/>
      </p:nvGrpSpPr>
      <p:grpSpPr>
        <a:xfrm>
          <a:off x="0" y="0"/>
          <a:ext cx="0" cy="0"/>
          <a:chOff x="0" y="0"/>
          <a:chExt cx="0" cy="0"/>
        </a:xfrm>
      </p:grpSpPr>
      <p:pic>
        <p:nvPicPr>
          <p:cNvPr id="9" name="Picture 8" descr="A person in a hard hat looking at a tablet&#10;&#10;Description automatically generated with low confidence">
            <a:extLst>
              <a:ext uri="{FF2B5EF4-FFF2-40B4-BE49-F238E27FC236}">
                <a16:creationId xmlns:a16="http://schemas.microsoft.com/office/drawing/2014/main" id="{CDD05D1E-8C89-429E-83CC-5344ECFE0252}"/>
              </a:ext>
            </a:extLst>
          </p:cNvPr>
          <p:cNvPicPr>
            <a:picLocks noChangeAspect="1"/>
          </p:cNvPicPr>
          <p:nvPr userDrawn="1"/>
        </p:nvPicPr>
        <p:blipFill>
          <a:blip r:embed="rId2"/>
          <a:stretch>
            <a:fillRect/>
          </a:stretch>
        </p:blipFill>
        <p:spPr>
          <a:xfrm>
            <a:off x="2462" y="0"/>
            <a:ext cx="12187076" cy="6858000"/>
          </a:xfrm>
          <a:prstGeom prst="rect">
            <a:avLst/>
          </a:prstGeom>
        </p:spPr>
      </p:pic>
      <p:pic>
        <p:nvPicPr>
          <p:cNvPr id="8" name="Image" descr="Image">
            <a:extLst>
              <a:ext uri="{FF2B5EF4-FFF2-40B4-BE49-F238E27FC236}">
                <a16:creationId xmlns:a16="http://schemas.microsoft.com/office/drawing/2014/main" id="{B457605F-2904-471E-856A-29734D1D352B}"/>
              </a:ext>
            </a:extLst>
          </p:cNvPr>
          <p:cNvPicPr>
            <a:picLocks noChangeAspect="1"/>
          </p:cNvPicPr>
          <p:nvPr userDrawn="1"/>
        </p:nvPicPr>
        <p:blipFill>
          <a:blip r:embed="rId3"/>
          <a:stretch>
            <a:fillRect/>
          </a:stretch>
        </p:blipFill>
        <p:spPr>
          <a:xfrm>
            <a:off x="9240156" y="5967810"/>
            <a:ext cx="2331336" cy="325260"/>
          </a:xfrm>
          <a:prstGeom prst="rect">
            <a:avLst/>
          </a:prstGeom>
          <a:ln w="12700">
            <a:miter lim="400000"/>
          </a:ln>
        </p:spPr>
      </p:pic>
      <p:sp>
        <p:nvSpPr>
          <p:cNvPr id="2" name="Title 1">
            <a:extLst>
              <a:ext uri="{FF2B5EF4-FFF2-40B4-BE49-F238E27FC236}">
                <a16:creationId xmlns:a16="http://schemas.microsoft.com/office/drawing/2014/main" id="{C2575140-C9A3-4558-AA62-7CE75CA0D246}"/>
              </a:ext>
            </a:extLst>
          </p:cNvPr>
          <p:cNvSpPr>
            <a:spLocks noGrp="1"/>
          </p:cNvSpPr>
          <p:nvPr>
            <p:ph type="title" hasCustomPrompt="1"/>
          </p:nvPr>
        </p:nvSpPr>
        <p:spPr>
          <a:xfrm>
            <a:off x="811391" y="1011936"/>
            <a:ext cx="4334352" cy="1946417"/>
          </a:xfrm>
        </p:spPr>
        <p:txBody>
          <a:bodyPr>
            <a:noAutofit/>
          </a:bodyPr>
          <a:lstStyle>
            <a:lvl1pPr>
              <a:defRPr sz="4800" b="0" cap="all" baseline="0">
                <a:solidFill>
                  <a:schemeClr val="bg1"/>
                </a:solidFill>
              </a:defRPr>
            </a:lvl1pPr>
          </a:lstStyle>
          <a:p>
            <a:r>
              <a:rPr lang="en-US"/>
              <a:t>title PRESENTATION</a:t>
            </a:r>
          </a:p>
        </p:txBody>
      </p:sp>
      <p:sp>
        <p:nvSpPr>
          <p:cNvPr id="6" name="Rectangle 4">
            <a:extLst>
              <a:ext uri="{FF2B5EF4-FFF2-40B4-BE49-F238E27FC236}">
                <a16:creationId xmlns:a16="http://schemas.microsoft.com/office/drawing/2014/main" id="{D1893382-6FDE-408C-BAD7-9F8A9AED682A}"/>
              </a:ext>
            </a:extLst>
          </p:cNvPr>
          <p:cNvSpPr>
            <a:spLocks noGrp="1" noChangeArrowheads="1"/>
          </p:cNvSpPr>
          <p:nvPr>
            <p:ph type="subTitle" idx="1" hasCustomPrompt="1"/>
          </p:nvPr>
        </p:nvSpPr>
        <p:spPr>
          <a:xfrm>
            <a:off x="811389" y="5716250"/>
            <a:ext cx="7978659" cy="423293"/>
          </a:xfrm>
        </p:spPr>
        <p:txBody>
          <a:bodyPr/>
          <a:lstStyle>
            <a:lvl1pPr marL="0" indent="0">
              <a:spcAft>
                <a:spcPts val="0"/>
              </a:spcAft>
              <a:buFontTx/>
              <a:buNone/>
              <a:defRPr b="0" i="0">
                <a:solidFill>
                  <a:schemeClr val="bg1"/>
                </a:solidFill>
                <a:latin typeface="+mn-lt"/>
              </a:defRPr>
            </a:lvl1pPr>
          </a:lstStyle>
          <a:p>
            <a:r>
              <a:rPr lang="en-US"/>
              <a:t>Author 1, Author 2 | Location | Date</a:t>
            </a:r>
          </a:p>
        </p:txBody>
      </p:sp>
    </p:spTree>
    <p:extLst>
      <p:ext uri="{BB962C8B-B14F-4D97-AF65-F5344CB8AC3E}">
        <p14:creationId xmlns:p14="http://schemas.microsoft.com/office/powerpoint/2010/main" val="2705999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gline Splitcolo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EF3BCC3-304C-493F-A3A3-FCA1B4FC2ADD}"/>
              </a:ext>
            </a:extLst>
          </p:cNvPr>
          <p:cNvSpPr/>
          <p:nvPr userDrawn="1"/>
        </p:nvSpPr>
        <p:spPr bwMode="auto">
          <a:xfrm>
            <a:off x="0" y="0"/>
            <a:ext cx="6095995"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marL="0" marR="0" indent="0" algn="l" defTabSz="1219170" rtl="0" eaLnBrk="1" fontAlgn="base" latinLnBrk="0" hangingPunct="1">
              <a:lnSpc>
                <a:spcPct val="105000"/>
              </a:lnSpc>
              <a:spcBef>
                <a:spcPct val="0"/>
              </a:spcBef>
              <a:spcAft>
                <a:spcPct val="0"/>
              </a:spcAft>
              <a:buClr>
                <a:schemeClr val="tx2"/>
              </a:buClr>
              <a:buSzPct val="120000"/>
              <a:buFontTx/>
              <a:buNone/>
              <a:tabLst/>
            </a:pPr>
            <a:endParaRPr kumimoji="0" lang="en-US" sz="2400" b="0" i="0" u="none" strike="noStrike" cap="none" normalizeH="0" baseline="0">
              <a:ln>
                <a:noFill/>
              </a:ln>
              <a:solidFill>
                <a:schemeClr val="tx1"/>
              </a:solidFill>
              <a:effectLst/>
              <a:latin typeface="+mn-lt"/>
            </a:endParaRPr>
          </a:p>
        </p:txBody>
      </p:sp>
      <p:sp>
        <p:nvSpPr>
          <p:cNvPr id="2" name="Titel 1"/>
          <p:cNvSpPr>
            <a:spLocks noGrp="1"/>
          </p:cNvSpPr>
          <p:nvPr>
            <p:ph type="title" hasCustomPrompt="1"/>
          </p:nvPr>
        </p:nvSpPr>
        <p:spPr>
          <a:xfrm>
            <a:off x="590549" y="583566"/>
            <a:ext cx="4914896" cy="379508"/>
          </a:xfrm>
        </p:spPr>
        <p:txBody>
          <a:bodyPr/>
          <a:lstStyle>
            <a:lvl1pPr>
              <a:defRPr cap="all" baseline="0">
                <a:solidFill>
                  <a:schemeClr val="bg1"/>
                </a:solidFill>
              </a:defRPr>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1" y="1100601"/>
            <a:ext cx="4914896" cy="379508"/>
          </a:xfrm>
          <a:prstGeom prst="rect">
            <a:avLst/>
          </a:prstGeom>
        </p:spPr>
        <p:txBody>
          <a:bodyPr/>
          <a:lstStyle>
            <a:lvl1pPr marL="0" indent="0">
              <a:spcAft>
                <a:spcPts val="0"/>
              </a:spcAft>
              <a:buFontTx/>
              <a:buNone/>
              <a:defRPr sz="2400" b="0" i="0" cap="all" baseline="0">
                <a:solidFill>
                  <a:schemeClr val="bg1"/>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2" y="1856317"/>
            <a:ext cx="4914893" cy="416348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7" name="Content Placeholder 10">
            <a:extLst>
              <a:ext uri="{FF2B5EF4-FFF2-40B4-BE49-F238E27FC236}">
                <a16:creationId xmlns:a16="http://schemas.microsoft.com/office/drawing/2014/main" id="{5A3C1F6B-F8A0-41D7-B528-591D504C9BF0}"/>
              </a:ext>
            </a:extLst>
          </p:cNvPr>
          <p:cNvSpPr>
            <a:spLocks noGrp="1"/>
          </p:cNvSpPr>
          <p:nvPr>
            <p:ph sz="quarter" idx="16" hasCustomPrompt="1"/>
          </p:nvPr>
        </p:nvSpPr>
        <p:spPr>
          <a:xfrm>
            <a:off x="6686543" y="1856317"/>
            <a:ext cx="4904323" cy="4163483"/>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21635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gline Splitcolor 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EF3BCC3-304C-493F-A3A3-FCA1B4FC2ADD}"/>
              </a:ext>
            </a:extLst>
          </p:cNvPr>
          <p:cNvSpPr/>
          <p:nvPr userDrawn="1"/>
        </p:nvSpPr>
        <p:spPr bwMode="auto">
          <a:xfrm>
            <a:off x="0" y="0"/>
            <a:ext cx="6095995" cy="6858000"/>
          </a:xfrm>
          <a:prstGeom prst="rect">
            <a:avLst/>
          </a:prstGeom>
          <a:solidFill>
            <a:srgbClr val="E6E7E7"/>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marL="0" marR="0" indent="0" algn="l" defTabSz="1219170" rtl="0" eaLnBrk="1" fontAlgn="base" latinLnBrk="0" hangingPunct="1">
              <a:lnSpc>
                <a:spcPct val="105000"/>
              </a:lnSpc>
              <a:spcBef>
                <a:spcPct val="0"/>
              </a:spcBef>
              <a:spcAft>
                <a:spcPct val="0"/>
              </a:spcAft>
              <a:buClr>
                <a:schemeClr val="tx2"/>
              </a:buClr>
              <a:buSzPct val="120000"/>
              <a:buFontTx/>
              <a:buNone/>
              <a:tabLst/>
            </a:pPr>
            <a:endParaRPr kumimoji="0" lang="en-US" sz="2400" b="0" i="0" u="none" strike="noStrike" cap="none" normalizeH="0" baseline="0">
              <a:ln>
                <a:noFill/>
              </a:ln>
              <a:solidFill>
                <a:schemeClr val="tx1"/>
              </a:solidFill>
              <a:effectLst/>
              <a:latin typeface="+mn-lt"/>
            </a:endParaRPr>
          </a:p>
        </p:txBody>
      </p:sp>
      <p:sp>
        <p:nvSpPr>
          <p:cNvPr id="2" name="Titel 1"/>
          <p:cNvSpPr>
            <a:spLocks noGrp="1"/>
          </p:cNvSpPr>
          <p:nvPr>
            <p:ph type="title" hasCustomPrompt="1"/>
          </p:nvPr>
        </p:nvSpPr>
        <p:spPr>
          <a:xfrm>
            <a:off x="590549" y="583566"/>
            <a:ext cx="4914896" cy="379508"/>
          </a:xfrm>
          <a:ln w="12700">
            <a:miter lim="400000"/>
          </a:ln>
        </p:spPr>
        <p:txBody>
          <a:bodyPr wrap="square" lIns="0" tIns="0" rIns="0" bIns="0">
            <a:noAutofit/>
          </a:bodyPr>
          <a:lstStyle>
            <a:lvl1pPr>
              <a:defRPr lang="en-US" cap="all" noProof="0" dirty="0"/>
            </a:lvl1pPr>
          </a:lstStyle>
          <a:p>
            <a:pPr lvl="0"/>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1" y="1100601"/>
            <a:ext cx="4914896" cy="37950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buNone/>
              <a:defRPr lang="en-US" sz="2400" kern="0" cap="all" baseline="0" noProof="0" dirty="0">
                <a:solidFill>
                  <a:srgbClr val="5F6973"/>
                </a:solidFill>
              </a:defRPr>
            </a:lvl1pPr>
          </a:lstStyle>
          <a:p>
            <a:pPr marL="355484" lvl="0" indent="-355484">
              <a:spcAft>
                <a:spcPts val="0"/>
              </a:spcAft>
            </a:pPr>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2" y="1856317"/>
            <a:ext cx="4914893" cy="416348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7" name="Content Placeholder 10">
            <a:extLst>
              <a:ext uri="{FF2B5EF4-FFF2-40B4-BE49-F238E27FC236}">
                <a16:creationId xmlns:a16="http://schemas.microsoft.com/office/drawing/2014/main" id="{5A3C1F6B-F8A0-41D7-B528-591D504C9BF0}"/>
              </a:ext>
            </a:extLst>
          </p:cNvPr>
          <p:cNvSpPr>
            <a:spLocks noGrp="1"/>
          </p:cNvSpPr>
          <p:nvPr>
            <p:ph sz="quarter" idx="16" hasCustomPrompt="1"/>
          </p:nvPr>
        </p:nvSpPr>
        <p:spPr>
          <a:xfrm>
            <a:off x="6686543" y="1856317"/>
            <a:ext cx="4904323" cy="4163483"/>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801374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rgbClr val="000000"/>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E1E59D1-A12A-4FF9-91D8-BAA7E7E101B7}"/>
              </a:ext>
            </a:extLst>
          </p:cNvPr>
          <p:cNvPicPr>
            <a:picLocks noChangeAspect="1"/>
          </p:cNvPicPr>
          <p:nvPr userDrawn="1"/>
        </p:nvPicPr>
        <p:blipFill>
          <a:blip r:embed="rId2">
            <a:alphaModFix amt="81000"/>
          </a:blip>
          <a:stretch>
            <a:fillRect/>
          </a:stretch>
        </p:blipFill>
        <p:spPr>
          <a:xfrm>
            <a:off x="0" y="0"/>
            <a:ext cx="12188389" cy="6858000"/>
          </a:xfrm>
          <a:prstGeom prst="rect">
            <a:avLst/>
          </a:prstGeom>
          <a:ln>
            <a:noFill/>
          </a:ln>
        </p:spPr>
      </p:pic>
      <p:sp>
        <p:nvSpPr>
          <p:cNvPr id="7" name="Slide Number Placeholder 1">
            <a:extLst>
              <a:ext uri="{FF2B5EF4-FFF2-40B4-BE49-F238E27FC236}">
                <a16:creationId xmlns:a16="http://schemas.microsoft.com/office/drawing/2014/main" id="{B0DFA288-7B61-4AF3-9EF1-3614AA4B191B}"/>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2" name="Title 1">
            <a:extLst>
              <a:ext uri="{FF2B5EF4-FFF2-40B4-BE49-F238E27FC236}">
                <a16:creationId xmlns:a16="http://schemas.microsoft.com/office/drawing/2014/main" id="{C2575140-C9A3-4558-AA62-7CE75CA0D246}"/>
              </a:ext>
            </a:extLst>
          </p:cNvPr>
          <p:cNvSpPr>
            <a:spLocks noGrp="1"/>
          </p:cNvSpPr>
          <p:nvPr>
            <p:ph type="title"/>
          </p:nvPr>
        </p:nvSpPr>
        <p:spPr>
          <a:xfrm>
            <a:off x="811390" y="3045306"/>
            <a:ext cx="7944684" cy="767389"/>
          </a:xfrm>
        </p:spPr>
        <p:txBody>
          <a:bodyPr>
            <a:noAutofit/>
          </a:bodyPr>
          <a:lstStyle>
            <a:lvl1pPr>
              <a:defRPr sz="5867" b="0" cap="all" baseline="0">
                <a:solidFill>
                  <a:schemeClr val="bg1"/>
                </a:solidFill>
              </a:defRPr>
            </a:lvl1pPr>
          </a:lstStyle>
          <a:p>
            <a:r>
              <a:rPr lang="en-US"/>
              <a:t>Click to edit Master title style</a:t>
            </a:r>
          </a:p>
        </p:txBody>
      </p:sp>
      <p:pic>
        <p:nvPicPr>
          <p:cNvPr id="11" name="Iphone X in Hand.png" descr="Iphone X in Hand.png">
            <a:extLst>
              <a:ext uri="{FF2B5EF4-FFF2-40B4-BE49-F238E27FC236}">
                <a16:creationId xmlns:a16="http://schemas.microsoft.com/office/drawing/2014/main" id="{07A936C4-FD0F-44E1-B58A-B604FCF32C9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007530" y="-109144"/>
            <a:ext cx="3184471" cy="6967143"/>
          </a:xfrm>
          <a:prstGeom prst="rect">
            <a:avLst/>
          </a:prstGeom>
          <a:ln w="12700" cap="flat">
            <a:noFill/>
            <a:miter lim="400000"/>
          </a:ln>
          <a:effectLst/>
        </p:spPr>
      </p:pic>
    </p:spTree>
    <p:extLst>
      <p:ext uri="{BB962C8B-B14F-4D97-AF65-F5344CB8AC3E}">
        <p14:creationId xmlns:p14="http://schemas.microsoft.com/office/powerpoint/2010/main" val="10520887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661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reserve="1">
  <p:cSld name="Red and whit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52" name="LOCP_NEG.png" descr="LOCP_NEG.png"/>
          <p:cNvPicPr>
            <a:picLocks noChangeAspect="1"/>
          </p:cNvPicPr>
          <p:nvPr/>
        </p:nvPicPr>
        <p:blipFill>
          <a:blip r:embed="rId3"/>
          <a:stretch>
            <a:fillRect/>
          </a:stretch>
        </p:blipFill>
        <p:spPr>
          <a:xfrm>
            <a:off x="10076249" y="6095904"/>
            <a:ext cx="1932391" cy="617840"/>
          </a:xfrm>
          <a:prstGeom prst="rect">
            <a:avLst/>
          </a:prstGeom>
          <a:ln w="12700">
            <a:miter lim="400000"/>
          </a:ln>
        </p:spPr>
      </p:pic>
    </p:spTree>
    <p:extLst>
      <p:ext uri="{BB962C8B-B14F-4D97-AF65-F5344CB8AC3E}">
        <p14:creationId xmlns:p14="http://schemas.microsoft.com/office/powerpoint/2010/main" val="2823274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Cover Slide">
    <p:bg>
      <p:bgPr>
        <a:solidFill>
          <a:srgbClr val="000000"/>
        </a:solidFill>
        <a:effectLst/>
      </p:bgPr>
    </p:bg>
    <p:spTree>
      <p:nvGrpSpPr>
        <p:cNvPr id="1" name=""/>
        <p:cNvGrpSpPr/>
        <p:nvPr/>
      </p:nvGrpSpPr>
      <p:grpSpPr>
        <a:xfrm>
          <a:off x="0" y="0"/>
          <a:ext cx="0" cy="0"/>
          <a:chOff x="0" y="0"/>
          <a:chExt cx="0" cy="0"/>
        </a:xfrm>
      </p:grpSpPr>
      <p:pic>
        <p:nvPicPr>
          <p:cNvPr id="7" name="Picture 6" descr="A person in a hard hat looking at a tablet&#10;&#10;Description automatically generated with low confidence">
            <a:extLst>
              <a:ext uri="{FF2B5EF4-FFF2-40B4-BE49-F238E27FC236}">
                <a16:creationId xmlns:a16="http://schemas.microsoft.com/office/drawing/2014/main" id="{6FCADC4E-212D-4D0D-B8FB-EF2F843F9EFB}"/>
              </a:ext>
            </a:extLst>
          </p:cNvPr>
          <p:cNvPicPr>
            <a:picLocks noChangeAspect="1"/>
          </p:cNvPicPr>
          <p:nvPr userDrawn="1"/>
        </p:nvPicPr>
        <p:blipFill>
          <a:blip r:embed="rId2"/>
          <a:stretch>
            <a:fillRect/>
          </a:stretch>
        </p:blipFill>
        <p:spPr>
          <a:xfrm>
            <a:off x="2462" y="0"/>
            <a:ext cx="12187076" cy="6858000"/>
          </a:xfrm>
          <a:prstGeom prst="rect">
            <a:avLst/>
          </a:prstGeom>
        </p:spPr>
      </p:pic>
      <p:sp>
        <p:nvSpPr>
          <p:cNvPr id="2" name="Title 1">
            <a:extLst>
              <a:ext uri="{FF2B5EF4-FFF2-40B4-BE49-F238E27FC236}">
                <a16:creationId xmlns:a16="http://schemas.microsoft.com/office/drawing/2014/main" id="{C2575140-C9A3-4558-AA62-7CE75CA0D246}"/>
              </a:ext>
            </a:extLst>
          </p:cNvPr>
          <p:cNvSpPr>
            <a:spLocks noGrp="1"/>
          </p:cNvSpPr>
          <p:nvPr>
            <p:ph type="title"/>
          </p:nvPr>
        </p:nvSpPr>
        <p:spPr>
          <a:xfrm>
            <a:off x="811390" y="1011936"/>
            <a:ext cx="7944684" cy="767389"/>
          </a:xfrm>
        </p:spPr>
        <p:txBody>
          <a:bodyPr>
            <a:noAutofit/>
          </a:bodyPr>
          <a:lstStyle>
            <a:lvl1pPr>
              <a:defRPr sz="6400" b="0" cap="all" baseline="0">
                <a:solidFill>
                  <a:schemeClr val="bg1"/>
                </a:solidFill>
              </a:defRPr>
            </a:lvl1pPr>
          </a:lstStyle>
          <a:p>
            <a:r>
              <a:rPr lang="en-US"/>
              <a:t>Click to edit Master title style</a:t>
            </a:r>
          </a:p>
        </p:txBody>
      </p:sp>
      <p:sp>
        <p:nvSpPr>
          <p:cNvPr id="6" name="Rectangle 4">
            <a:extLst>
              <a:ext uri="{FF2B5EF4-FFF2-40B4-BE49-F238E27FC236}">
                <a16:creationId xmlns:a16="http://schemas.microsoft.com/office/drawing/2014/main" id="{D1893382-6FDE-408C-BAD7-9F8A9AED682A}"/>
              </a:ext>
            </a:extLst>
          </p:cNvPr>
          <p:cNvSpPr>
            <a:spLocks noGrp="1" noChangeArrowheads="1"/>
          </p:cNvSpPr>
          <p:nvPr>
            <p:ph type="subTitle" idx="1" hasCustomPrompt="1"/>
          </p:nvPr>
        </p:nvSpPr>
        <p:spPr>
          <a:xfrm>
            <a:off x="811389" y="5716250"/>
            <a:ext cx="7978659" cy="423293"/>
          </a:xfrm>
        </p:spPr>
        <p:txBody>
          <a:bodyPr/>
          <a:lstStyle>
            <a:lvl1pPr marL="0" indent="0">
              <a:spcAft>
                <a:spcPts val="0"/>
              </a:spcAft>
              <a:buFontTx/>
              <a:buNone/>
              <a:defRPr b="0" i="0">
                <a:solidFill>
                  <a:schemeClr val="bg1"/>
                </a:solidFill>
                <a:latin typeface="+mn-lt"/>
              </a:defRPr>
            </a:lvl1pPr>
          </a:lstStyle>
          <a:p>
            <a:pPr lvl="0"/>
            <a:r>
              <a:rPr lang="en-US" noProof="0"/>
              <a:t>Click to add subtitle</a:t>
            </a:r>
          </a:p>
        </p:txBody>
      </p:sp>
      <p:sp>
        <p:nvSpPr>
          <p:cNvPr id="5" name="Text Placeholder 4">
            <a:extLst>
              <a:ext uri="{FF2B5EF4-FFF2-40B4-BE49-F238E27FC236}">
                <a16:creationId xmlns:a16="http://schemas.microsoft.com/office/drawing/2014/main" id="{A2731E42-B1FC-4A3E-8E51-86012BB0F528}"/>
              </a:ext>
            </a:extLst>
          </p:cNvPr>
          <p:cNvSpPr>
            <a:spLocks noGrp="1"/>
          </p:cNvSpPr>
          <p:nvPr>
            <p:ph type="body" sz="quarter" idx="10" hasCustomPrompt="1"/>
          </p:nvPr>
        </p:nvSpPr>
        <p:spPr>
          <a:xfrm>
            <a:off x="816864" y="5157216"/>
            <a:ext cx="7973568" cy="439112"/>
          </a:xfrm>
          <a:ln w="12700">
            <a:miter lim="400000"/>
          </a:ln>
        </p:spPr>
        <p:txBody>
          <a:bodyPr wrap="square" lIns="0" tIns="0" rIns="0" bIns="0">
            <a:noAutofit/>
          </a:bodyPr>
          <a:lstStyle>
            <a:lvl1pPr marL="0" indent="0">
              <a:buNone/>
              <a:defRPr kumimoji="0" lang="en-US" sz="3200" u="none" strike="noStrike" kern="1200" cap="none" spc="0" normalizeH="0" baseline="0" noProof="0" dirty="0">
                <a:ln>
                  <a:noFill/>
                </a:ln>
                <a:solidFill>
                  <a:schemeClr val="bg1"/>
                </a:solidFill>
                <a:effectLst/>
                <a:uFillTx/>
                <a:latin typeface="Segoe UI"/>
                <a:ea typeface="+mj-ea"/>
                <a:cs typeface="Segoe UI"/>
              </a:defRPr>
            </a:lvl1pPr>
          </a:lstStyle>
          <a:p>
            <a:pPr lvl="0">
              <a:lnSpc>
                <a:spcPct val="85000"/>
              </a:lnSpc>
              <a:spcAft>
                <a:spcPct val="0"/>
              </a:spcAft>
            </a:pPr>
            <a:r>
              <a:rPr lang="en-US"/>
              <a:t>Meeting Title</a:t>
            </a:r>
          </a:p>
        </p:txBody>
      </p:sp>
      <p:pic>
        <p:nvPicPr>
          <p:cNvPr id="10" name="Image" descr="Image">
            <a:extLst>
              <a:ext uri="{FF2B5EF4-FFF2-40B4-BE49-F238E27FC236}">
                <a16:creationId xmlns:a16="http://schemas.microsoft.com/office/drawing/2014/main" id="{8379AECF-42B8-42BE-87E1-0157814B5821}"/>
              </a:ext>
            </a:extLst>
          </p:cNvPr>
          <p:cNvPicPr>
            <a:picLocks noChangeAspect="1"/>
          </p:cNvPicPr>
          <p:nvPr userDrawn="1"/>
        </p:nvPicPr>
        <p:blipFill>
          <a:blip r:embed="rId3"/>
          <a:stretch>
            <a:fillRect/>
          </a:stretch>
        </p:blipFill>
        <p:spPr>
          <a:xfrm>
            <a:off x="9240156" y="5967810"/>
            <a:ext cx="2331336" cy="325260"/>
          </a:xfrm>
          <a:prstGeom prst="rect">
            <a:avLst/>
          </a:prstGeom>
          <a:ln w="12700">
            <a:miter lim="400000"/>
          </a:ln>
        </p:spPr>
      </p:pic>
    </p:spTree>
    <p:extLst>
      <p:ext uri="{BB962C8B-B14F-4D97-AF65-F5344CB8AC3E}">
        <p14:creationId xmlns:p14="http://schemas.microsoft.com/office/powerpoint/2010/main" val="585350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Cover Slide">
    <p:bg>
      <p:bgPr>
        <a:solidFill>
          <a:srgbClr val="000000"/>
        </a:solidFill>
        <a:effectLst/>
      </p:bgPr>
    </p:bg>
    <p:spTree>
      <p:nvGrpSpPr>
        <p:cNvPr id="1" name=""/>
        <p:cNvGrpSpPr/>
        <p:nvPr/>
      </p:nvGrpSpPr>
      <p:grpSpPr>
        <a:xfrm>
          <a:off x="0" y="0"/>
          <a:ext cx="0" cy="0"/>
          <a:chOff x="0" y="0"/>
          <a:chExt cx="0" cy="0"/>
        </a:xfrm>
      </p:grpSpPr>
      <p:pic>
        <p:nvPicPr>
          <p:cNvPr id="9" name="Picture 8" descr="A picture containing person&#10;&#10;Description automatically generated">
            <a:extLst>
              <a:ext uri="{FF2B5EF4-FFF2-40B4-BE49-F238E27FC236}">
                <a16:creationId xmlns:a16="http://schemas.microsoft.com/office/drawing/2014/main" id="{8D73C9A7-D5C1-4B95-B552-B97A5425C362}"/>
              </a:ext>
            </a:extLst>
          </p:cNvPr>
          <p:cNvPicPr>
            <a:picLocks noChangeAspect="1"/>
          </p:cNvPicPr>
          <p:nvPr userDrawn="1"/>
        </p:nvPicPr>
        <p:blipFill>
          <a:blip r:embed="rId2"/>
          <a:stretch>
            <a:fillRect/>
          </a:stretch>
        </p:blipFill>
        <p:spPr>
          <a:xfrm>
            <a:off x="1" y="0"/>
            <a:ext cx="12195095" cy="6864096"/>
          </a:xfrm>
          <a:prstGeom prst="rect">
            <a:avLst/>
          </a:prstGeom>
        </p:spPr>
      </p:pic>
      <p:pic>
        <p:nvPicPr>
          <p:cNvPr id="11" name="Picture 10">
            <a:extLst>
              <a:ext uri="{FF2B5EF4-FFF2-40B4-BE49-F238E27FC236}">
                <a16:creationId xmlns:a16="http://schemas.microsoft.com/office/drawing/2014/main" id="{551949C9-F4C8-4FC8-BF31-ED6CAD863105}"/>
              </a:ext>
            </a:extLst>
          </p:cNvPr>
          <p:cNvPicPr>
            <a:picLocks noChangeAspect="1"/>
          </p:cNvPicPr>
          <p:nvPr userDrawn="1"/>
        </p:nvPicPr>
        <p:blipFill>
          <a:blip r:embed="rId3"/>
          <a:stretch>
            <a:fillRect/>
          </a:stretch>
        </p:blipFill>
        <p:spPr>
          <a:xfrm>
            <a:off x="5230738" y="515770"/>
            <a:ext cx="6961263" cy="4700479"/>
          </a:xfrm>
          <a:prstGeom prst="rect">
            <a:avLst/>
          </a:prstGeom>
        </p:spPr>
      </p:pic>
      <p:sp>
        <p:nvSpPr>
          <p:cNvPr id="12" name="Rectangle 11">
            <a:extLst>
              <a:ext uri="{FF2B5EF4-FFF2-40B4-BE49-F238E27FC236}">
                <a16:creationId xmlns:a16="http://schemas.microsoft.com/office/drawing/2014/main" id="{DA8E5722-7092-4751-8C56-8C5C2F3B1812}"/>
              </a:ext>
            </a:extLst>
          </p:cNvPr>
          <p:cNvSpPr/>
          <p:nvPr userDrawn="1"/>
        </p:nvSpPr>
        <p:spPr bwMode="auto">
          <a:xfrm>
            <a:off x="10119360" y="6139543"/>
            <a:ext cx="1788160" cy="579604"/>
          </a:xfrm>
          <a:prstGeom prst="rect">
            <a:avLst/>
          </a:prstGeom>
          <a:solidFill>
            <a:srgbClr val="000000"/>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marL="0" marR="0" indent="0" algn="l" defTabSz="1219170" rtl="0" eaLnBrk="1" fontAlgn="base" latinLnBrk="0" hangingPunct="1">
              <a:lnSpc>
                <a:spcPct val="105000"/>
              </a:lnSpc>
              <a:spcBef>
                <a:spcPct val="0"/>
              </a:spcBef>
              <a:spcAft>
                <a:spcPct val="0"/>
              </a:spcAft>
              <a:buClr>
                <a:schemeClr val="tx2"/>
              </a:buClr>
              <a:buSzPct val="120000"/>
              <a:buFontTx/>
              <a:buNone/>
              <a:tabLst/>
            </a:pPr>
            <a:endParaRPr kumimoji="0" lang="en-US" sz="2400" b="0" i="0" u="none" strike="noStrike" cap="none" normalizeH="0" baseline="0">
              <a:ln>
                <a:noFill/>
              </a:ln>
              <a:solidFill>
                <a:schemeClr val="tx1"/>
              </a:solidFill>
              <a:effectLst/>
              <a:latin typeface="+mn-lt"/>
            </a:endParaRPr>
          </a:p>
        </p:txBody>
      </p:sp>
      <p:pic>
        <p:nvPicPr>
          <p:cNvPr id="13" name="Image" descr="Image">
            <a:extLst>
              <a:ext uri="{FF2B5EF4-FFF2-40B4-BE49-F238E27FC236}">
                <a16:creationId xmlns:a16="http://schemas.microsoft.com/office/drawing/2014/main" id="{0419D981-6AC9-42A5-AECC-B2F7115ABC2B}"/>
              </a:ext>
            </a:extLst>
          </p:cNvPr>
          <p:cNvPicPr>
            <a:picLocks noChangeAspect="1"/>
          </p:cNvPicPr>
          <p:nvPr userDrawn="1"/>
        </p:nvPicPr>
        <p:blipFill>
          <a:blip r:embed="rId4"/>
          <a:stretch>
            <a:fillRect/>
          </a:stretch>
        </p:blipFill>
        <p:spPr>
          <a:xfrm>
            <a:off x="9240156" y="5967810"/>
            <a:ext cx="2331336" cy="325260"/>
          </a:xfrm>
          <a:prstGeom prst="rect">
            <a:avLst/>
          </a:prstGeom>
          <a:ln w="12700">
            <a:miter lim="400000"/>
          </a:ln>
        </p:spPr>
      </p:pic>
      <p:sp>
        <p:nvSpPr>
          <p:cNvPr id="2" name="Title 1">
            <a:extLst>
              <a:ext uri="{FF2B5EF4-FFF2-40B4-BE49-F238E27FC236}">
                <a16:creationId xmlns:a16="http://schemas.microsoft.com/office/drawing/2014/main" id="{C2575140-C9A3-4558-AA62-7CE75CA0D246}"/>
              </a:ext>
            </a:extLst>
          </p:cNvPr>
          <p:cNvSpPr>
            <a:spLocks noGrp="1"/>
          </p:cNvSpPr>
          <p:nvPr>
            <p:ph type="title" hasCustomPrompt="1"/>
          </p:nvPr>
        </p:nvSpPr>
        <p:spPr>
          <a:xfrm>
            <a:off x="811390" y="1011936"/>
            <a:ext cx="7944684" cy="767389"/>
          </a:xfrm>
        </p:spPr>
        <p:txBody>
          <a:bodyPr>
            <a:noAutofit/>
          </a:bodyPr>
          <a:lstStyle>
            <a:lvl1pPr>
              <a:defRPr sz="6400" b="0" cap="all" baseline="0">
                <a:solidFill>
                  <a:schemeClr val="bg1"/>
                </a:solidFill>
              </a:defRPr>
            </a:lvl1pPr>
          </a:lstStyle>
          <a:p>
            <a:r>
              <a:rPr lang="en-US"/>
              <a:t>title PRESENTATION</a:t>
            </a:r>
          </a:p>
        </p:txBody>
      </p:sp>
      <p:sp>
        <p:nvSpPr>
          <p:cNvPr id="6" name="Rectangle 4">
            <a:extLst>
              <a:ext uri="{FF2B5EF4-FFF2-40B4-BE49-F238E27FC236}">
                <a16:creationId xmlns:a16="http://schemas.microsoft.com/office/drawing/2014/main" id="{D1893382-6FDE-408C-BAD7-9F8A9AED682A}"/>
              </a:ext>
            </a:extLst>
          </p:cNvPr>
          <p:cNvSpPr>
            <a:spLocks noGrp="1" noChangeArrowheads="1"/>
          </p:cNvSpPr>
          <p:nvPr>
            <p:ph type="subTitle" idx="1" hasCustomPrompt="1"/>
          </p:nvPr>
        </p:nvSpPr>
        <p:spPr>
          <a:xfrm>
            <a:off x="811389" y="5583936"/>
            <a:ext cx="7978659" cy="816864"/>
          </a:xfrm>
        </p:spPr>
        <p:txBody>
          <a:bodyPr/>
          <a:lstStyle>
            <a:lvl1pPr marL="0" indent="0">
              <a:spcAft>
                <a:spcPts val="0"/>
              </a:spcAft>
              <a:buFontTx/>
              <a:buNone/>
              <a:defRPr b="0" i="0">
                <a:solidFill>
                  <a:schemeClr val="bg1"/>
                </a:solidFill>
                <a:latin typeface="+mn-lt"/>
              </a:defRPr>
            </a:lvl1pPr>
          </a:lstStyle>
          <a:p>
            <a:r>
              <a:rPr lang="en-US"/>
              <a:t>Author 1, Author 2 | Location | Date</a:t>
            </a:r>
          </a:p>
        </p:txBody>
      </p:sp>
    </p:spTree>
    <p:extLst>
      <p:ext uri="{BB962C8B-B14F-4D97-AF65-F5344CB8AC3E}">
        <p14:creationId xmlns:p14="http://schemas.microsoft.com/office/powerpoint/2010/main" val="3675853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A597A0-6E5A-40F6-A923-BF4C5A6B7E07}"/>
              </a:ext>
            </a:extLst>
          </p:cNvPr>
          <p:cNvSpPr>
            <a:spLocks noGrp="1"/>
          </p:cNvSpPr>
          <p:nvPr userDrawn="1">
            <p:ph type="body" sz="quarter" idx="10" hasCustomPrompt="1"/>
          </p:nvPr>
        </p:nvSpPr>
        <p:spPr>
          <a:xfrm>
            <a:off x="1751992" y="3367068"/>
            <a:ext cx="9432475" cy="450851"/>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400" b="0" u="none" strike="noStrike" cap="none" spc="0" normalizeH="0" baseline="0" dirty="0" smtClean="0">
                <a:ln>
                  <a:noFill/>
                </a:ln>
                <a:solidFill>
                  <a:srgbClr val="000000"/>
                </a:solidFill>
                <a:effectLst/>
                <a:uFillTx/>
                <a:latin typeface="Segoe UI"/>
                <a:ea typeface="Segoe UI"/>
                <a:cs typeface="Segoe UI"/>
                <a:sym typeface="Segoe UI"/>
              </a:defRPr>
            </a:lvl1pPr>
          </a:lstStyle>
          <a:p>
            <a:pPr marL="355484" marR="0" lvl="0" indent="-355484" defTabSz="1219170" fontAlgn="auto" latinLnBrk="0" hangingPunct="0">
              <a:lnSpc>
                <a:spcPct val="90000"/>
              </a:lnSpc>
              <a:spcBef>
                <a:spcPts val="933"/>
              </a:spcBef>
              <a:spcAft>
                <a:spcPts val="0"/>
              </a:spcAft>
              <a:buClrTx/>
              <a:buSzTx/>
              <a:tabLst/>
            </a:pPr>
            <a:r>
              <a:rPr lang="en-US"/>
              <a:t>Lorem ipsum dolor</a:t>
            </a:r>
          </a:p>
        </p:txBody>
      </p:sp>
      <p:sp>
        <p:nvSpPr>
          <p:cNvPr id="10" name="Rechteck 25">
            <a:extLst>
              <a:ext uri="{FF2B5EF4-FFF2-40B4-BE49-F238E27FC236}">
                <a16:creationId xmlns:a16="http://schemas.microsoft.com/office/drawing/2014/main" id="{4BE47ADE-CF23-C54C-BE11-ED98DDD67F53}"/>
              </a:ext>
            </a:extLst>
          </p:cNvPr>
          <p:cNvSpPr/>
          <p:nvPr userDrawn="1"/>
        </p:nvSpPr>
        <p:spPr>
          <a:xfrm>
            <a:off x="0" y="1"/>
            <a:ext cx="12192000" cy="2311745"/>
          </a:xfrm>
          <a:prstGeom prst="rect">
            <a:avLst/>
          </a:prstGeom>
          <a:solidFill>
            <a:srgbClr val="E1000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5" rIns="91412" bIns="45705" numCol="1" spcCol="0" rtlCol="0" fromWordArt="0" anchor="ctr" anchorCtr="0" forceAA="0" compatLnSpc="1">
            <a:prstTxWarp prst="textNoShape">
              <a:avLst/>
            </a:prstTxWarp>
            <a:noAutofit/>
          </a:bodyPr>
          <a:lstStyle/>
          <a:p>
            <a:pPr algn="ctr"/>
            <a:endParaRPr lang="de-DE" sz="1351"/>
          </a:p>
        </p:txBody>
      </p:sp>
      <p:sp>
        <p:nvSpPr>
          <p:cNvPr id="14" name="Rectangle 3">
            <a:extLst>
              <a:ext uri="{FF2B5EF4-FFF2-40B4-BE49-F238E27FC236}">
                <a16:creationId xmlns:a16="http://schemas.microsoft.com/office/drawing/2014/main" id="{B98C0C12-F2CA-2E4D-89DC-0046C9EF3C3D}"/>
              </a:ext>
            </a:extLst>
          </p:cNvPr>
          <p:cNvSpPr>
            <a:spLocks noGrp="1" noChangeArrowheads="1"/>
          </p:cNvSpPr>
          <p:nvPr userDrawn="1">
            <p:ph type="ctrTitle" hasCustomPrompt="1"/>
          </p:nvPr>
        </p:nvSpPr>
        <p:spPr>
          <a:xfrm>
            <a:off x="1007534" y="732761"/>
            <a:ext cx="10176933" cy="815839"/>
          </a:xfrm>
          <a:ln w="12700">
            <a:miter lim="400000"/>
          </a:ln>
        </p:spPr>
        <p:txBody>
          <a:bodyPr lIns="0" tIns="0" rIns="0" bIns="0" anchor="b">
            <a:normAutofit/>
          </a:bodyPr>
          <a:lstStyle>
            <a:lvl1pPr>
              <a:defRPr lang="en-US" sz="4133" noProof="0" dirty="0">
                <a:solidFill>
                  <a:srgbClr val="FFFFFF"/>
                </a:solidFill>
                <a:ea typeface="Segoe UI"/>
                <a:sym typeface="Segoe UI"/>
              </a:defRPr>
            </a:lvl1pPr>
          </a:lstStyle>
          <a:p>
            <a:pPr marL="0" marR="0" lvl="0" indent="0" defTabSz="1219170" latinLnBrk="0">
              <a:lnSpc>
                <a:spcPct val="75000"/>
              </a:lnSpc>
              <a:spcBef>
                <a:spcPts val="0"/>
              </a:spcBef>
              <a:spcAft>
                <a:spcPts val="0"/>
              </a:spcAft>
              <a:buClrTx/>
              <a:buSzTx/>
              <a:buFontTx/>
              <a:buNone/>
              <a:tabLst/>
            </a:pPr>
            <a:r>
              <a:rPr lang="en-US" noProof="0"/>
              <a:t>Agenda</a:t>
            </a:r>
          </a:p>
        </p:txBody>
      </p:sp>
      <p:sp>
        <p:nvSpPr>
          <p:cNvPr id="12" name="Slide Number Placeholder 1">
            <a:extLst>
              <a:ext uri="{FF2B5EF4-FFF2-40B4-BE49-F238E27FC236}">
                <a16:creationId xmlns:a16="http://schemas.microsoft.com/office/drawing/2014/main" id="{69EB2F81-B7AE-47AA-8FFC-A69B1BA088E5}"/>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22" name="Text Placeholder 21">
            <a:extLst>
              <a:ext uri="{FF2B5EF4-FFF2-40B4-BE49-F238E27FC236}">
                <a16:creationId xmlns:a16="http://schemas.microsoft.com/office/drawing/2014/main" id="{01F0E96E-43CA-4421-A2FC-611DD4061CA3}"/>
              </a:ext>
            </a:extLst>
          </p:cNvPr>
          <p:cNvSpPr>
            <a:spLocks noGrp="1"/>
          </p:cNvSpPr>
          <p:nvPr>
            <p:ph type="body" sz="quarter" idx="11" hasCustomPrompt="1"/>
          </p:nvPr>
        </p:nvSpPr>
        <p:spPr>
          <a:xfrm>
            <a:off x="1751992" y="4399599"/>
            <a:ext cx="9432475" cy="450851"/>
          </a:xfrm>
          <a:noFill/>
          <a:ln w="12700" cap="flat">
            <a:noFill/>
            <a:miter lim="400000"/>
            <a:headEnd/>
            <a:tailEnd/>
          </a:ln>
          <a:effectLst/>
        </p:spPr>
        <p:txBody>
          <a:bodyPr vert="horz" wrap="square" lIns="34279" tIns="34279" rIns="34279" bIns="34279" numCol="1" anchor="t" anchorCtr="0" compatLnSpc="1">
            <a:prstTxWarp prst="textNoShape">
              <a:avLst/>
            </a:prstTxWarp>
            <a:noAutofit/>
          </a:bodyPr>
          <a:lstStyle>
            <a:lvl1pPr marL="0" indent="0">
              <a:lnSpc>
                <a:spcPct val="85000"/>
              </a:lnSpc>
              <a:spcBef>
                <a:spcPts val="0"/>
              </a:spcBef>
              <a:buNone/>
              <a:defRPr kumimoji="0" lang="en-US" sz="2400" b="0" u="none" strike="noStrike" cap="none" spc="0" normalizeH="0" baseline="0" dirty="0" smtClean="0">
                <a:ln>
                  <a:noFill/>
                </a:ln>
                <a:solidFill>
                  <a:srgbClr val="000000"/>
                </a:solidFill>
                <a:effectLst/>
                <a:uFillTx/>
                <a:latin typeface="Segoe UI"/>
                <a:ea typeface="Segoe UI"/>
                <a:cs typeface="Segoe UI"/>
              </a:defRPr>
            </a:lvl1pPr>
            <a:lvl2pPr marL="357600" indent="0">
              <a:buNone/>
              <a:defRPr lang="en-US" dirty="0" smtClean="0"/>
            </a:lvl2pPr>
            <a:lvl3pPr marL="708852" indent="0">
              <a:buNone/>
              <a:defRPr lang="en-US" dirty="0" smtClean="0"/>
            </a:lvl3pPr>
            <a:lvl4pPr marL="1077033" indent="0">
              <a:buNone/>
              <a:defRPr lang="en-US" dirty="0" smtClean="0"/>
            </a:lvl4pPr>
            <a:lvl5pPr marL="1432518" indent="0">
              <a:buNone/>
              <a:defRPr lang="en-US" dirty="0"/>
            </a:lvl5pPr>
          </a:lstStyle>
          <a:p>
            <a:pPr marL="355484" marR="0" lvl="0" indent="-355484" defTabSz="1219170" fontAlgn="auto" latinLnBrk="0" hangingPunct="0">
              <a:lnSpc>
                <a:spcPct val="90000"/>
              </a:lnSpc>
              <a:spcBef>
                <a:spcPts val="933"/>
              </a:spcBef>
              <a:spcAft>
                <a:spcPts val="0"/>
              </a:spcAft>
              <a:buClrTx/>
              <a:buSzTx/>
              <a:tabLst/>
            </a:pPr>
            <a:r>
              <a:rPr lang="en-US"/>
              <a:t>Lorem ipsum dolor</a:t>
            </a:r>
          </a:p>
        </p:txBody>
      </p:sp>
      <p:sp>
        <p:nvSpPr>
          <p:cNvPr id="24" name="Text Placeholder 23">
            <a:extLst>
              <a:ext uri="{FF2B5EF4-FFF2-40B4-BE49-F238E27FC236}">
                <a16:creationId xmlns:a16="http://schemas.microsoft.com/office/drawing/2014/main" id="{E9167E3E-7773-4EC1-A679-2F7EA96692B0}"/>
              </a:ext>
            </a:extLst>
          </p:cNvPr>
          <p:cNvSpPr>
            <a:spLocks noGrp="1"/>
          </p:cNvSpPr>
          <p:nvPr>
            <p:ph type="body" sz="quarter" idx="12" hasCustomPrompt="1"/>
          </p:nvPr>
        </p:nvSpPr>
        <p:spPr>
          <a:xfrm>
            <a:off x="1751992" y="5397687"/>
            <a:ext cx="9432475" cy="451104"/>
          </a:xfrm>
          <a:noFill/>
          <a:ln w="12700" cap="flat">
            <a:noFill/>
            <a:miter lim="400000"/>
            <a:headEnd/>
            <a:tailEnd/>
          </a:ln>
          <a:effectLst/>
        </p:spPr>
        <p:txBody>
          <a:bodyPr vert="horz" wrap="square" lIns="34279" tIns="34279" rIns="34279" bIns="34279" numCol="1" anchor="t" anchorCtr="0" compatLnSpc="1">
            <a:prstTxWarp prst="textNoShape">
              <a:avLst/>
            </a:prstTxWarp>
            <a:noAutofit/>
          </a:bodyPr>
          <a:lstStyle>
            <a:lvl1pPr marL="0" indent="0">
              <a:lnSpc>
                <a:spcPct val="85000"/>
              </a:lnSpc>
              <a:spcBef>
                <a:spcPts val="0"/>
              </a:spcBef>
              <a:buNone/>
              <a:defRPr kumimoji="0" lang="en-US" sz="2400" b="0" u="none" strike="noStrike" cap="none" spc="0" normalizeH="0" baseline="0" smtClean="0">
                <a:ln>
                  <a:noFill/>
                </a:ln>
                <a:solidFill>
                  <a:srgbClr val="000000"/>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Lorem ipsum dolor</a:t>
            </a:r>
          </a:p>
        </p:txBody>
      </p:sp>
      <p:sp>
        <p:nvSpPr>
          <p:cNvPr id="27" name="Text Placeholder 26">
            <a:extLst>
              <a:ext uri="{FF2B5EF4-FFF2-40B4-BE49-F238E27FC236}">
                <a16:creationId xmlns:a16="http://schemas.microsoft.com/office/drawing/2014/main" id="{5148873F-81E1-47D0-8D8D-0774193B9B18}"/>
              </a:ext>
            </a:extLst>
          </p:cNvPr>
          <p:cNvSpPr>
            <a:spLocks noGrp="1"/>
          </p:cNvSpPr>
          <p:nvPr>
            <p:ph type="body" sz="quarter" idx="13" hasCustomPrompt="1"/>
          </p:nvPr>
        </p:nvSpPr>
        <p:spPr>
          <a:xfrm>
            <a:off x="1054608" y="3119967"/>
            <a:ext cx="615336" cy="463296"/>
          </a:xfrm>
          <a:noFill/>
          <a:ln w="12700" cap="flat">
            <a:noFill/>
            <a:miter lim="400000"/>
          </a:ln>
          <a:effectLst/>
        </p:spPr>
        <p:txBody>
          <a:bodyPr wrap="none" lIns="34279" tIns="34279" rIns="34279" bIns="34279" numCol="1" anchor="t">
            <a:noAutofit/>
          </a:bodyPr>
          <a:lstStyle>
            <a:lvl1pPr marL="0" indent="0">
              <a:buNone/>
              <a:defRPr kumimoji="0" lang="en-US" sz="2667" b="1" u="none" strike="noStrike" cap="none" spc="0" normalizeH="0" baseline="0" dirty="0">
                <a:ln>
                  <a:noFill/>
                </a:ln>
                <a:solidFill>
                  <a:srgbClr val="E1000F"/>
                </a:solidFill>
                <a:effectLst/>
                <a:uFillTx/>
                <a:latin typeface="Segoe UI"/>
                <a:ea typeface="Segoe UI"/>
                <a:cs typeface="Segoe UI"/>
                <a:sym typeface="Segoe UI"/>
              </a:defRPr>
            </a:lvl1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29" name="Text Placeholder 28">
            <a:extLst>
              <a:ext uri="{FF2B5EF4-FFF2-40B4-BE49-F238E27FC236}">
                <a16:creationId xmlns:a16="http://schemas.microsoft.com/office/drawing/2014/main" id="{D108F2DF-F136-49EE-9033-D631A0780CEC}"/>
              </a:ext>
            </a:extLst>
          </p:cNvPr>
          <p:cNvSpPr>
            <a:spLocks noGrp="1"/>
          </p:cNvSpPr>
          <p:nvPr>
            <p:ph type="body" sz="quarter" idx="14" hasCustomPrompt="1"/>
          </p:nvPr>
        </p:nvSpPr>
        <p:spPr>
          <a:xfrm>
            <a:off x="1054608" y="4088641"/>
            <a:ext cx="615336"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31" name="Text Placeholder 30">
            <a:extLst>
              <a:ext uri="{FF2B5EF4-FFF2-40B4-BE49-F238E27FC236}">
                <a16:creationId xmlns:a16="http://schemas.microsoft.com/office/drawing/2014/main" id="{1155E201-B13F-4747-AC82-0F9272D48737}"/>
              </a:ext>
            </a:extLst>
          </p:cNvPr>
          <p:cNvSpPr>
            <a:spLocks noGrp="1"/>
          </p:cNvSpPr>
          <p:nvPr>
            <p:ph type="body" sz="quarter" idx="15" hasCustomPrompt="1"/>
          </p:nvPr>
        </p:nvSpPr>
        <p:spPr>
          <a:xfrm>
            <a:off x="1054608" y="5060527"/>
            <a:ext cx="615336"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dirty="0" smtClean="0">
                <a:ln>
                  <a:noFill/>
                </a:ln>
                <a:solidFill>
                  <a:srgbClr val="E1000F"/>
                </a:solidFill>
                <a:effectLst/>
                <a:uFillTx/>
                <a:latin typeface="Segoe UI"/>
                <a:ea typeface="Segoe UI"/>
                <a:cs typeface="Segoe UI"/>
              </a:defRPr>
            </a:lvl1pPr>
            <a:lvl2pPr>
              <a:defRPr lang="en-US" dirty="0" smtClean="0"/>
            </a:lvl2pPr>
            <a:lvl3pPr>
              <a:defRPr lang="en-US" dirty="0" smtClean="0"/>
            </a:lvl3pPr>
            <a:lvl4pPr>
              <a:defRPr lang="en-US" dirty="0" smtClean="0"/>
            </a:lvl4pPr>
            <a:lvl5pPr>
              <a:defRPr lang="en-US" dirty="0"/>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Tree>
    <p:extLst>
      <p:ext uri="{BB962C8B-B14F-4D97-AF65-F5344CB8AC3E}">
        <p14:creationId xmlns:p14="http://schemas.microsoft.com/office/powerpoint/2010/main" val="176566170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10" name="Rechteck 25">
            <a:extLst>
              <a:ext uri="{FF2B5EF4-FFF2-40B4-BE49-F238E27FC236}">
                <a16:creationId xmlns:a16="http://schemas.microsoft.com/office/drawing/2014/main" id="{4BE47ADE-CF23-C54C-BE11-ED98DDD67F53}"/>
              </a:ext>
            </a:extLst>
          </p:cNvPr>
          <p:cNvSpPr/>
          <p:nvPr userDrawn="1"/>
        </p:nvSpPr>
        <p:spPr>
          <a:xfrm>
            <a:off x="0" y="1"/>
            <a:ext cx="12192000" cy="2311745"/>
          </a:xfrm>
          <a:prstGeom prst="rect">
            <a:avLst/>
          </a:prstGeom>
          <a:solidFill>
            <a:srgbClr val="E1000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5" rIns="91412" bIns="45705" numCol="1" spcCol="0" rtlCol="0" fromWordArt="0" anchor="ctr" anchorCtr="0" forceAA="0" compatLnSpc="1">
            <a:prstTxWarp prst="textNoShape">
              <a:avLst/>
            </a:prstTxWarp>
            <a:noAutofit/>
          </a:bodyPr>
          <a:lstStyle/>
          <a:p>
            <a:pPr algn="ctr"/>
            <a:endParaRPr lang="de-DE" sz="1351"/>
          </a:p>
        </p:txBody>
      </p:sp>
      <p:sp>
        <p:nvSpPr>
          <p:cNvPr id="14" name="Rectangle 3">
            <a:extLst>
              <a:ext uri="{FF2B5EF4-FFF2-40B4-BE49-F238E27FC236}">
                <a16:creationId xmlns:a16="http://schemas.microsoft.com/office/drawing/2014/main" id="{B98C0C12-F2CA-2E4D-89DC-0046C9EF3C3D}"/>
              </a:ext>
            </a:extLst>
          </p:cNvPr>
          <p:cNvSpPr>
            <a:spLocks noGrp="1" noChangeArrowheads="1"/>
          </p:cNvSpPr>
          <p:nvPr userDrawn="1">
            <p:ph type="ctrTitle" hasCustomPrompt="1"/>
          </p:nvPr>
        </p:nvSpPr>
        <p:spPr>
          <a:xfrm>
            <a:off x="1007534" y="732761"/>
            <a:ext cx="10176933" cy="815839"/>
          </a:xfrm>
          <a:ln w="12700">
            <a:miter lim="400000"/>
          </a:ln>
        </p:spPr>
        <p:txBody>
          <a:bodyPr lIns="0" tIns="0" rIns="0" bIns="0" anchor="b">
            <a:normAutofit/>
          </a:bodyPr>
          <a:lstStyle>
            <a:lvl1pPr>
              <a:defRPr lang="en-US" sz="4133" noProof="0" dirty="0">
                <a:solidFill>
                  <a:srgbClr val="FFFFFF"/>
                </a:solidFill>
                <a:ea typeface="Segoe UI"/>
                <a:sym typeface="Segoe UI"/>
              </a:defRPr>
            </a:lvl1pPr>
          </a:lstStyle>
          <a:p>
            <a:pPr marL="0" marR="0" lvl="0" indent="0" defTabSz="1219170" latinLnBrk="0">
              <a:lnSpc>
                <a:spcPct val="75000"/>
              </a:lnSpc>
              <a:spcBef>
                <a:spcPts val="0"/>
              </a:spcBef>
              <a:spcAft>
                <a:spcPts val="0"/>
              </a:spcAft>
              <a:buClrTx/>
              <a:buSzTx/>
              <a:buFontTx/>
              <a:buNone/>
              <a:tabLst/>
            </a:pPr>
            <a:r>
              <a:rPr lang="en-US" noProof="0"/>
              <a:t>Agenda</a:t>
            </a:r>
          </a:p>
        </p:txBody>
      </p:sp>
      <p:sp>
        <p:nvSpPr>
          <p:cNvPr id="12" name="Slide Number Placeholder 1">
            <a:extLst>
              <a:ext uri="{FF2B5EF4-FFF2-40B4-BE49-F238E27FC236}">
                <a16:creationId xmlns:a16="http://schemas.microsoft.com/office/drawing/2014/main" id="{69EB2F81-B7AE-47AA-8FFC-A69B1BA088E5}"/>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3" name="Text Placeholder 2">
            <a:extLst>
              <a:ext uri="{FF2B5EF4-FFF2-40B4-BE49-F238E27FC236}">
                <a16:creationId xmlns:a16="http://schemas.microsoft.com/office/drawing/2014/main" id="{0E015750-2D48-49AE-8A28-A8BFA7FD3DFB}"/>
              </a:ext>
            </a:extLst>
          </p:cNvPr>
          <p:cNvSpPr>
            <a:spLocks noGrp="1"/>
          </p:cNvSpPr>
          <p:nvPr>
            <p:ph type="body" sz="quarter" idx="10" hasCustomPrompt="1"/>
          </p:nvPr>
        </p:nvSpPr>
        <p:spPr>
          <a:xfrm>
            <a:off x="1054608"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3" name="Text Placeholder 2">
            <a:extLst>
              <a:ext uri="{FF2B5EF4-FFF2-40B4-BE49-F238E27FC236}">
                <a16:creationId xmlns:a16="http://schemas.microsoft.com/office/drawing/2014/main" id="{0411F758-63AE-40A4-90D7-073C449BCABF}"/>
              </a:ext>
            </a:extLst>
          </p:cNvPr>
          <p:cNvSpPr>
            <a:spLocks noGrp="1"/>
          </p:cNvSpPr>
          <p:nvPr>
            <p:ph type="body" sz="quarter" idx="11" hasCustomPrompt="1"/>
          </p:nvPr>
        </p:nvSpPr>
        <p:spPr>
          <a:xfrm>
            <a:off x="1054608"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4" name="Text Placeholder 2">
            <a:extLst>
              <a:ext uri="{FF2B5EF4-FFF2-40B4-BE49-F238E27FC236}">
                <a16:creationId xmlns:a16="http://schemas.microsoft.com/office/drawing/2014/main" id="{5D5E8FD6-EBF5-4A9C-AC0F-C68857A59758}"/>
              </a:ext>
            </a:extLst>
          </p:cNvPr>
          <p:cNvSpPr>
            <a:spLocks noGrp="1"/>
          </p:cNvSpPr>
          <p:nvPr>
            <p:ph type="body" sz="quarter" idx="12" hasCustomPrompt="1"/>
          </p:nvPr>
        </p:nvSpPr>
        <p:spPr>
          <a:xfrm>
            <a:off x="1054608"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61" name="Text Placeholder 2">
            <a:extLst>
              <a:ext uri="{FF2B5EF4-FFF2-40B4-BE49-F238E27FC236}">
                <a16:creationId xmlns:a16="http://schemas.microsoft.com/office/drawing/2014/main" id="{D1A8A6A5-2C6C-4F45-A3C3-E45ADC0D4935}"/>
              </a:ext>
            </a:extLst>
          </p:cNvPr>
          <p:cNvSpPr>
            <a:spLocks noGrp="1"/>
          </p:cNvSpPr>
          <p:nvPr>
            <p:ph type="body" sz="quarter" idx="19" hasCustomPrompt="1"/>
          </p:nvPr>
        </p:nvSpPr>
        <p:spPr>
          <a:xfrm>
            <a:off x="1706288"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62" name="Text Placeholder 2">
            <a:extLst>
              <a:ext uri="{FF2B5EF4-FFF2-40B4-BE49-F238E27FC236}">
                <a16:creationId xmlns:a16="http://schemas.microsoft.com/office/drawing/2014/main" id="{A9AE352E-EEEE-4E68-9247-8BA688147AAB}"/>
              </a:ext>
            </a:extLst>
          </p:cNvPr>
          <p:cNvSpPr>
            <a:spLocks noGrp="1"/>
          </p:cNvSpPr>
          <p:nvPr>
            <p:ph type="body" sz="quarter" idx="20" hasCustomPrompt="1"/>
          </p:nvPr>
        </p:nvSpPr>
        <p:spPr>
          <a:xfrm>
            <a:off x="1706288"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63" name="Text Placeholder 2">
            <a:extLst>
              <a:ext uri="{FF2B5EF4-FFF2-40B4-BE49-F238E27FC236}">
                <a16:creationId xmlns:a16="http://schemas.microsoft.com/office/drawing/2014/main" id="{4D6C9986-41C1-49AE-9B6F-734DA8CECF72}"/>
              </a:ext>
            </a:extLst>
          </p:cNvPr>
          <p:cNvSpPr>
            <a:spLocks noGrp="1"/>
          </p:cNvSpPr>
          <p:nvPr>
            <p:ph type="body" sz="quarter" idx="21" hasCustomPrompt="1"/>
          </p:nvPr>
        </p:nvSpPr>
        <p:spPr>
          <a:xfrm>
            <a:off x="1706288"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72" name="Text Placeholder 2">
            <a:extLst>
              <a:ext uri="{FF2B5EF4-FFF2-40B4-BE49-F238E27FC236}">
                <a16:creationId xmlns:a16="http://schemas.microsoft.com/office/drawing/2014/main" id="{2A518913-F4F0-410F-BB6A-6B9132207D78}"/>
              </a:ext>
            </a:extLst>
          </p:cNvPr>
          <p:cNvSpPr>
            <a:spLocks noGrp="1"/>
          </p:cNvSpPr>
          <p:nvPr>
            <p:ph type="body" sz="quarter" idx="22" hasCustomPrompt="1"/>
          </p:nvPr>
        </p:nvSpPr>
        <p:spPr>
          <a:xfrm>
            <a:off x="4508783"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73" name="Text Placeholder 2">
            <a:extLst>
              <a:ext uri="{FF2B5EF4-FFF2-40B4-BE49-F238E27FC236}">
                <a16:creationId xmlns:a16="http://schemas.microsoft.com/office/drawing/2014/main" id="{9ED7EA9F-1D91-44BF-B797-C785C6BB958D}"/>
              </a:ext>
            </a:extLst>
          </p:cNvPr>
          <p:cNvSpPr>
            <a:spLocks noGrp="1"/>
          </p:cNvSpPr>
          <p:nvPr>
            <p:ph type="body" sz="quarter" idx="23" hasCustomPrompt="1"/>
          </p:nvPr>
        </p:nvSpPr>
        <p:spPr>
          <a:xfrm>
            <a:off x="4508783"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74" name="Text Placeholder 2">
            <a:extLst>
              <a:ext uri="{FF2B5EF4-FFF2-40B4-BE49-F238E27FC236}">
                <a16:creationId xmlns:a16="http://schemas.microsoft.com/office/drawing/2014/main" id="{0CB100C0-3806-4E83-89D1-08100BB96DA8}"/>
              </a:ext>
            </a:extLst>
          </p:cNvPr>
          <p:cNvSpPr>
            <a:spLocks noGrp="1"/>
          </p:cNvSpPr>
          <p:nvPr>
            <p:ph type="body" sz="quarter" idx="24" hasCustomPrompt="1"/>
          </p:nvPr>
        </p:nvSpPr>
        <p:spPr>
          <a:xfrm>
            <a:off x="4508783"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75" name="Text Placeholder 2">
            <a:extLst>
              <a:ext uri="{FF2B5EF4-FFF2-40B4-BE49-F238E27FC236}">
                <a16:creationId xmlns:a16="http://schemas.microsoft.com/office/drawing/2014/main" id="{24B72E87-478E-4F76-B4FE-DE21F05EDA28}"/>
              </a:ext>
            </a:extLst>
          </p:cNvPr>
          <p:cNvSpPr>
            <a:spLocks noGrp="1"/>
          </p:cNvSpPr>
          <p:nvPr>
            <p:ph type="body" sz="quarter" idx="25" hasCustomPrompt="1"/>
          </p:nvPr>
        </p:nvSpPr>
        <p:spPr>
          <a:xfrm>
            <a:off x="5159277"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76" name="Text Placeholder 2">
            <a:extLst>
              <a:ext uri="{FF2B5EF4-FFF2-40B4-BE49-F238E27FC236}">
                <a16:creationId xmlns:a16="http://schemas.microsoft.com/office/drawing/2014/main" id="{5B533CAD-D0E7-4B6A-AB01-B94D71E0E22D}"/>
              </a:ext>
            </a:extLst>
          </p:cNvPr>
          <p:cNvSpPr>
            <a:spLocks noGrp="1"/>
          </p:cNvSpPr>
          <p:nvPr>
            <p:ph type="body" sz="quarter" idx="26" hasCustomPrompt="1"/>
          </p:nvPr>
        </p:nvSpPr>
        <p:spPr>
          <a:xfrm>
            <a:off x="5159277"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77" name="Text Placeholder 2">
            <a:extLst>
              <a:ext uri="{FF2B5EF4-FFF2-40B4-BE49-F238E27FC236}">
                <a16:creationId xmlns:a16="http://schemas.microsoft.com/office/drawing/2014/main" id="{563D255A-AA3C-40CF-9BE7-5AA940A6D183}"/>
              </a:ext>
            </a:extLst>
          </p:cNvPr>
          <p:cNvSpPr>
            <a:spLocks noGrp="1"/>
          </p:cNvSpPr>
          <p:nvPr>
            <p:ph type="body" sz="quarter" idx="27" hasCustomPrompt="1"/>
          </p:nvPr>
        </p:nvSpPr>
        <p:spPr>
          <a:xfrm>
            <a:off x="5159277"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88" name="Text Placeholder 2">
            <a:extLst>
              <a:ext uri="{FF2B5EF4-FFF2-40B4-BE49-F238E27FC236}">
                <a16:creationId xmlns:a16="http://schemas.microsoft.com/office/drawing/2014/main" id="{0D9A0D3F-15A7-42AE-9A73-68BD4F485B7C}"/>
              </a:ext>
            </a:extLst>
          </p:cNvPr>
          <p:cNvSpPr>
            <a:spLocks noGrp="1"/>
          </p:cNvSpPr>
          <p:nvPr>
            <p:ph type="body" sz="quarter" idx="28" hasCustomPrompt="1"/>
          </p:nvPr>
        </p:nvSpPr>
        <p:spPr>
          <a:xfrm>
            <a:off x="7953396"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89" name="Text Placeholder 2">
            <a:extLst>
              <a:ext uri="{FF2B5EF4-FFF2-40B4-BE49-F238E27FC236}">
                <a16:creationId xmlns:a16="http://schemas.microsoft.com/office/drawing/2014/main" id="{A6E13866-5E65-4F78-A442-DFDDC683FA3D}"/>
              </a:ext>
            </a:extLst>
          </p:cNvPr>
          <p:cNvSpPr>
            <a:spLocks noGrp="1"/>
          </p:cNvSpPr>
          <p:nvPr>
            <p:ph type="body" sz="quarter" idx="29" hasCustomPrompt="1"/>
          </p:nvPr>
        </p:nvSpPr>
        <p:spPr>
          <a:xfrm>
            <a:off x="7953396"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90" name="Text Placeholder 2">
            <a:extLst>
              <a:ext uri="{FF2B5EF4-FFF2-40B4-BE49-F238E27FC236}">
                <a16:creationId xmlns:a16="http://schemas.microsoft.com/office/drawing/2014/main" id="{B9A37F25-EEE0-4166-B593-74CE67F16573}"/>
              </a:ext>
            </a:extLst>
          </p:cNvPr>
          <p:cNvSpPr>
            <a:spLocks noGrp="1"/>
          </p:cNvSpPr>
          <p:nvPr>
            <p:ph type="body" sz="quarter" idx="30" hasCustomPrompt="1"/>
          </p:nvPr>
        </p:nvSpPr>
        <p:spPr>
          <a:xfrm>
            <a:off x="7953396"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91" name="Text Placeholder 2">
            <a:extLst>
              <a:ext uri="{FF2B5EF4-FFF2-40B4-BE49-F238E27FC236}">
                <a16:creationId xmlns:a16="http://schemas.microsoft.com/office/drawing/2014/main" id="{2EC77B6F-370E-4975-9078-2CE26BC0E310}"/>
              </a:ext>
            </a:extLst>
          </p:cNvPr>
          <p:cNvSpPr>
            <a:spLocks noGrp="1"/>
          </p:cNvSpPr>
          <p:nvPr>
            <p:ph type="body" sz="quarter" idx="31" hasCustomPrompt="1"/>
          </p:nvPr>
        </p:nvSpPr>
        <p:spPr>
          <a:xfrm>
            <a:off x="8603890"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92" name="Text Placeholder 2">
            <a:extLst>
              <a:ext uri="{FF2B5EF4-FFF2-40B4-BE49-F238E27FC236}">
                <a16:creationId xmlns:a16="http://schemas.microsoft.com/office/drawing/2014/main" id="{79EE092B-DCE7-46BC-8F75-1C4D39B667F7}"/>
              </a:ext>
            </a:extLst>
          </p:cNvPr>
          <p:cNvSpPr>
            <a:spLocks noGrp="1"/>
          </p:cNvSpPr>
          <p:nvPr>
            <p:ph type="body" sz="quarter" idx="32" hasCustomPrompt="1"/>
          </p:nvPr>
        </p:nvSpPr>
        <p:spPr>
          <a:xfrm>
            <a:off x="8603890"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93" name="Text Placeholder 2">
            <a:extLst>
              <a:ext uri="{FF2B5EF4-FFF2-40B4-BE49-F238E27FC236}">
                <a16:creationId xmlns:a16="http://schemas.microsoft.com/office/drawing/2014/main" id="{4239D75B-2E96-4299-9216-A07F5B6BCB6F}"/>
              </a:ext>
            </a:extLst>
          </p:cNvPr>
          <p:cNvSpPr>
            <a:spLocks noGrp="1"/>
          </p:cNvSpPr>
          <p:nvPr>
            <p:ph type="body" sz="quarter" idx="33" hasCustomPrompt="1"/>
          </p:nvPr>
        </p:nvSpPr>
        <p:spPr>
          <a:xfrm>
            <a:off x="8603890"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Tree>
    <p:extLst>
      <p:ext uri="{BB962C8B-B14F-4D97-AF65-F5344CB8AC3E}">
        <p14:creationId xmlns:p14="http://schemas.microsoft.com/office/powerpoint/2010/main" val="32476706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42" name="Picture 41" descr="A picture containing green, factory, platform, stair&#10;&#10;Description automatically generated">
            <a:extLst>
              <a:ext uri="{FF2B5EF4-FFF2-40B4-BE49-F238E27FC236}">
                <a16:creationId xmlns:a16="http://schemas.microsoft.com/office/drawing/2014/main" id="{EDFD159E-40BE-4E75-B58E-88C88C2AF5C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1"/>
            <a:ext cx="12192000" cy="2311748"/>
          </a:xfrm>
          <a:prstGeom prst="rect">
            <a:avLst/>
          </a:prstGeom>
          <a:ln w="12700">
            <a:miter lim="400000"/>
          </a:ln>
        </p:spPr>
      </p:pic>
      <p:sp>
        <p:nvSpPr>
          <p:cNvPr id="14" name="Rectangle 3">
            <a:extLst>
              <a:ext uri="{FF2B5EF4-FFF2-40B4-BE49-F238E27FC236}">
                <a16:creationId xmlns:a16="http://schemas.microsoft.com/office/drawing/2014/main" id="{B98C0C12-F2CA-2E4D-89DC-0046C9EF3C3D}"/>
              </a:ext>
            </a:extLst>
          </p:cNvPr>
          <p:cNvSpPr>
            <a:spLocks noGrp="1" noChangeArrowheads="1"/>
          </p:cNvSpPr>
          <p:nvPr userDrawn="1">
            <p:ph type="ctrTitle" hasCustomPrompt="1"/>
          </p:nvPr>
        </p:nvSpPr>
        <p:spPr>
          <a:xfrm>
            <a:off x="1007534" y="732761"/>
            <a:ext cx="10176933" cy="815839"/>
          </a:xfrm>
          <a:ln w="12700">
            <a:miter lim="400000"/>
          </a:ln>
        </p:spPr>
        <p:txBody>
          <a:bodyPr lIns="0" tIns="0" rIns="0" bIns="0" anchor="b">
            <a:normAutofit/>
          </a:bodyPr>
          <a:lstStyle>
            <a:lvl1pPr>
              <a:defRPr lang="en-US" sz="4133" noProof="0" dirty="0">
                <a:solidFill>
                  <a:srgbClr val="FFFFFF"/>
                </a:solidFill>
                <a:ea typeface="Segoe UI"/>
                <a:sym typeface="Segoe UI"/>
              </a:defRPr>
            </a:lvl1pPr>
          </a:lstStyle>
          <a:p>
            <a:pPr marL="0" marR="0" lvl="0" indent="0" defTabSz="1219170" latinLnBrk="0">
              <a:lnSpc>
                <a:spcPct val="75000"/>
              </a:lnSpc>
              <a:spcBef>
                <a:spcPts val="0"/>
              </a:spcBef>
              <a:spcAft>
                <a:spcPts val="0"/>
              </a:spcAft>
              <a:buClrTx/>
              <a:buSzTx/>
              <a:buFontTx/>
              <a:buNone/>
              <a:tabLst/>
            </a:pPr>
            <a:r>
              <a:rPr lang="en-US" noProof="0"/>
              <a:t>Agenda</a:t>
            </a:r>
          </a:p>
        </p:txBody>
      </p:sp>
      <p:sp>
        <p:nvSpPr>
          <p:cNvPr id="12" name="Slide Number Placeholder 1">
            <a:extLst>
              <a:ext uri="{FF2B5EF4-FFF2-40B4-BE49-F238E27FC236}">
                <a16:creationId xmlns:a16="http://schemas.microsoft.com/office/drawing/2014/main" id="{69EB2F81-B7AE-47AA-8FFC-A69B1BA088E5}"/>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
        <p:nvSpPr>
          <p:cNvPr id="41" name="Text Placeholder 2">
            <a:extLst>
              <a:ext uri="{FF2B5EF4-FFF2-40B4-BE49-F238E27FC236}">
                <a16:creationId xmlns:a16="http://schemas.microsoft.com/office/drawing/2014/main" id="{8FB5E5B8-3B13-4817-A23F-CC23340D1FA5}"/>
              </a:ext>
            </a:extLst>
          </p:cNvPr>
          <p:cNvSpPr>
            <a:spLocks noGrp="1"/>
          </p:cNvSpPr>
          <p:nvPr>
            <p:ph type="body" sz="quarter" idx="10" hasCustomPrompt="1"/>
          </p:nvPr>
        </p:nvSpPr>
        <p:spPr>
          <a:xfrm>
            <a:off x="1054608"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43" name="Text Placeholder 2">
            <a:extLst>
              <a:ext uri="{FF2B5EF4-FFF2-40B4-BE49-F238E27FC236}">
                <a16:creationId xmlns:a16="http://schemas.microsoft.com/office/drawing/2014/main" id="{127DB04B-5B73-409C-8AD0-B220D9682D32}"/>
              </a:ext>
            </a:extLst>
          </p:cNvPr>
          <p:cNvSpPr>
            <a:spLocks noGrp="1"/>
          </p:cNvSpPr>
          <p:nvPr>
            <p:ph type="body" sz="quarter" idx="11" hasCustomPrompt="1"/>
          </p:nvPr>
        </p:nvSpPr>
        <p:spPr>
          <a:xfrm>
            <a:off x="1054608"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44" name="Text Placeholder 2">
            <a:extLst>
              <a:ext uri="{FF2B5EF4-FFF2-40B4-BE49-F238E27FC236}">
                <a16:creationId xmlns:a16="http://schemas.microsoft.com/office/drawing/2014/main" id="{C96FAD16-3AFA-4F48-B2C6-F7C4D1D6BB90}"/>
              </a:ext>
            </a:extLst>
          </p:cNvPr>
          <p:cNvSpPr>
            <a:spLocks noGrp="1"/>
          </p:cNvSpPr>
          <p:nvPr>
            <p:ph type="body" sz="quarter" idx="12" hasCustomPrompt="1"/>
          </p:nvPr>
        </p:nvSpPr>
        <p:spPr>
          <a:xfrm>
            <a:off x="1054608"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45" name="Text Placeholder 2">
            <a:extLst>
              <a:ext uri="{FF2B5EF4-FFF2-40B4-BE49-F238E27FC236}">
                <a16:creationId xmlns:a16="http://schemas.microsoft.com/office/drawing/2014/main" id="{86281A4A-0706-49A0-A365-D40075F5E9A2}"/>
              </a:ext>
            </a:extLst>
          </p:cNvPr>
          <p:cNvSpPr>
            <a:spLocks noGrp="1"/>
          </p:cNvSpPr>
          <p:nvPr>
            <p:ph type="body" sz="quarter" idx="19" hasCustomPrompt="1"/>
          </p:nvPr>
        </p:nvSpPr>
        <p:spPr>
          <a:xfrm>
            <a:off x="1706288"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46" name="Text Placeholder 2">
            <a:extLst>
              <a:ext uri="{FF2B5EF4-FFF2-40B4-BE49-F238E27FC236}">
                <a16:creationId xmlns:a16="http://schemas.microsoft.com/office/drawing/2014/main" id="{EA778B10-43B1-4DD7-8DC4-F40A73DE9438}"/>
              </a:ext>
            </a:extLst>
          </p:cNvPr>
          <p:cNvSpPr>
            <a:spLocks noGrp="1"/>
          </p:cNvSpPr>
          <p:nvPr>
            <p:ph type="body" sz="quarter" idx="20" hasCustomPrompt="1"/>
          </p:nvPr>
        </p:nvSpPr>
        <p:spPr>
          <a:xfrm>
            <a:off x="1706288"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47" name="Text Placeholder 2">
            <a:extLst>
              <a:ext uri="{FF2B5EF4-FFF2-40B4-BE49-F238E27FC236}">
                <a16:creationId xmlns:a16="http://schemas.microsoft.com/office/drawing/2014/main" id="{B668F5C9-B65A-4420-AF99-083723FEADFD}"/>
              </a:ext>
            </a:extLst>
          </p:cNvPr>
          <p:cNvSpPr>
            <a:spLocks noGrp="1"/>
          </p:cNvSpPr>
          <p:nvPr>
            <p:ph type="body" sz="quarter" idx="21" hasCustomPrompt="1"/>
          </p:nvPr>
        </p:nvSpPr>
        <p:spPr>
          <a:xfrm>
            <a:off x="1706288"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48" name="Text Placeholder 2">
            <a:extLst>
              <a:ext uri="{FF2B5EF4-FFF2-40B4-BE49-F238E27FC236}">
                <a16:creationId xmlns:a16="http://schemas.microsoft.com/office/drawing/2014/main" id="{2AC07B81-CF51-42E4-A3A1-DF9B59994FDE}"/>
              </a:ext>
            </a:extLst>
          </p:cNvPr>
          <p:cNvSpPr>
            <a:spLocks noGrp="1"/>
          </p:cNvSpPr>
          <p:nvPr>
            <p:ph type="body" sz="quarter" idx="22" hasCustomPrompt="1"/>
          </p:nvPr>
        </p:nvSpPr>
        <p:spPr>
          <a:xfrm>
            <a:off x="4508783"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49" name="Text Placeholder 2">
            <a:extLst>
              <a:ext uri="{FF2B5EF4-FFF2-40B4-BE49-F238E27FC236}">
                <a16:creationId xmlns:a16="http://schemas.microsoft.com/office/drawing/2014/main" id="{690402EA-67C2-4128-819D-C23F71AC83C9}"/>
              </a:ext>
            </a:extLst>
          </p:cNvPr>
          <p:cNvSpPr>
            <a:spLocks noGrp="1"/>
          </p:cNvSpPr>
          <p:nvPr>
            <p:ph type="body" sz="quarter" idx="23" hasCustomPrompt="1"/>
          </p:nvPr>
        </p:nvSpPr>
        <p:spPr>
          <a:xfrm>
            <a:off x="4508783"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0" name="Text Placeholder 2">
            <a:extLst>
              <a:ext uri="{FF2B5EF4-FFF2-40B4-BE49-F238E27FC236}">
                <a16:creationId xmlns:a16="http://schemas.microsoft.com/office/drawing/2014/main" id="{A9D78177-D17E-4260-BA2C-9E5245B069B9}"/>
              </a:ext>
            </a:extLst>
          </p:cNvPr>
          <p:cNvSpPr>
            <a:spLocks noGrp="1"/>
          </p:cNvSpPr>
          <p:nvPr>
            <p:ph type="body" sz="quarter" idx="24" hasCustomPrompt="1"/>
          </p:nvPr>
        </p:nvSpPr>
        <p:spPr>
          <a:xfrm>
            <a:off x="4508783"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1" name="Text Placeholder 2">
            <a:extLst>
              <a:ext uri="{FF2B5EF4-FFF2-40B4-BE49-F238E27FC236}">
                <a16:creationId xmlns:a16="http://schemas.microsoft.com/office/drawing/2014/main" id="{20D4FB54-A9F1-499F-A2DE-B565A9A0B49A}"/>
              </a:ext>
            </a:extLst>
          </p:cNvPr>
          <p:cNvSpPr>
            <a:spLocks noGrp="1"/>
          </p:cNvSpPr>
          <p:nvPr>
            <p:ph type="body" sz="quarter" idx="25" hasCustomPrompt="1"/>
          </p:nvPr>
        </p:nvSpPr>
        <p:spPr>
          <a:xfrm>
            <a:off x="5159277"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52" name="Text Placeholder 2">
            <a:extLst>
              <a:ext uri="{FF2B5EF4-FFF2-40B4-BE49-F238E27FC236}">
                <a16:creationId xmlns:a16="http://schemas.microsoft.com/office/drawing/2014/main" id="{53306A9D-BFE2-4844-9B2F-E1F766E4804A}"/>
              </a:ext>
            </a:extLst>
          </p:cNvPr>
          <p:cNvSpPr>
            <a:spLocks noGrp="1"/>
          </p:cNvSpPr>
          <p:nvPr>
            <p:ph type="body" sz="quarter" idx="26" hasCustomPrompt="1"/>
          </p:nvPr>
        </p:nvSpPr>
        <p:spPr>
          <a:xfrm>
            <a:off x="5159277"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53" name="Text Placeholder 2">
            <a:extLst>
              <a:ext uri="{FF2B5EF4-FFF2-40B4-BE49-F238E27FC236}">
                <a16:creationId xmlns:a16="http://schemas.microsoft.com/office/drawing/2014/main" id="{1A41C71C-238B-4198-BFFE-F788C4228C7B}"/>
              </a:ext>
            </a:extLst>
          </p:cNvPr>
          <p:cNvSpPr>
            <a:spLocks noGrp="1"/>
          </p:cNvSpPr>
          <p:nvPr>
            <p:ph type="body" sz="quarter" idx="27" hasCustomPrompt="1"/>
          </p:nvPr>
        </p:nvSpPr>
        <p:spPr>
          <a:xfrm>
            <a:off x="5159277"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54" name="Text Placeholder 2">
            <a:extLst>
              <a:ext uri="{FF2B5EF4-FFF2-40B4-BE49-F238E27FC236}">
                <a16:creationId xmlns:a16="http://schemas.microsoft.com/office/drawing/2014/main" id="{D82147C8-8880-4185-B6B2-A0E35013968C}"/>
              </a:ext>
            </a:extLst>
          </p:cNvPr>
          <p:cNvSpPr>
            <a:spLocks noGrp="1"/>
          </p:cNvSpPr>
          <p:nvPr>
            <p:ph type="body" sz="quarter" idx="28" hasCustomPrompt="1"/>
          </p:nvPr>
        </p:nvSpPr>
        <p:spPr>
          <a:xfrm>
            <a:off x="7953396" y="311996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5" name="Text Placeholder 2">
            <a:extLst>
              <a:ext uri="{FF2B5EF4-FFF2-40B4-BE49-F238E27FC236}">
                <a16:creationId xmlns:a16="http://schemas.microsoft.com/office/drawing/2014/main" id="{768C615C-8A04-4B13-89D5-29F7D9A2EF26}"/>
              </a:ext>
            </a:extLst>
          </p:cNvPr>
          <p:cNvSpPr>
            <a:spLocks noGrp="1"/>
          </p:cNvSpPr>
          <p:nvPr>
            <p:ph type="body" sz="quarter" idx="29" hasCustomPrompt="1"/>
          </p:nvPr>
        </p:nvSpPr>
        <p:spPr>
          <a:xfrm>
            <a:off x="7953396" y="4088641"/>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6" name="Text Placeholder 2">
            <a:extLst>
              <a:ext uri="{FF2B5EF4-FFF2-40B4-BE49-F238E27FC236}">
                <a16:creationId xmlns:a16="http://schemas.microsoft.com/office/drawing/2014/main" id="{99A907F9-17AA-4EC1-86F3-12EBEDF916E0}"/>
              </a:ext>
            </a:extLst>
          </p:cNvPr>
          <p:cNvSpPr>
            <a:spLocks noGrp="1"/>
          </p:cNvSpPr>
          <p:nvPr>
            <p:ph type="body" sz="quarter" idx="30" hasCustomPrompt="1"/>
          </p:nvPr>
        </p:nvSpPr>
        <p:spPr>
          <a:xfrm>
            <a:off x="7953396" y="5060527"/>
            <a:ext cx="621792" cy="463296"/>
          </a:xfrm>
          <a:noFill/>
          <a:ln w="12700" cap="flat">
            <a:noFill/>
            <a:miter lim="400000"/>
            <a:headEnd/>
            <a:tailEnd/>
          </a:ln>
          <a:effectLst/>
        </p:spPr>
        <p:txBody>
          <a:bodyPr vert="horz" wrap="none" lIns="34279" tIns="34279" rIns="34279" bIns="34279" numCol="1" anchor="t" anchorCtr="0" compatLnSpc="1">
            <a:prstTxWarp prst="textNoShape">
              <a:avLst/>
            </a:prstTxWarp>
            <a:noAutofit/>
          </a:bodyPr>
          <a:lstStyle>
            <a:lvl1pPr marL="0" indent="0">
              <a:buNone/>
              <a:defRPr kumimoji="0" lang="en-US" sz="2667" b="1" u="none" strike="noStrike" cap="none" spc="0" normalizeH="0" baseline="0" smtClean="0">
                <a:ln>
                  <a:noFill/>
                </a:ln>
                <a:solidFill>
                  <a:srgbClr val="E1000F"/>
                </a:solidFill>
                <a:effectLst/>
                <a:uFillTx/>
                <a:latin typeface="Segoe UI"/>
                <a:ea typeface="Segoe UI"/>
                <a:cs typeface="Segoe UI"/>
              </a:defRPr>
            </a:lvl1pPr>
            <a:lvl2pPr>
              <a:defRPr lang="en-US" smtClean="0"/>
            </a:lvl2pPr>
            <a:lvl3pPr>
              <a:defRPr lang="en-US" smtClean="0"/>
            </a:lvl3pPr>
            <a:lvl4pPr>
              <a:defRPr lang="en-US" smtClean="0"/>
            </a:lvl4pPr>
            <a:lvl5pPr>
              <a:defRPr lang="en-US"/>
            </a:lvl5pPr>
          </a:lstStyle>
          <a:p>
            <a:pPr marL="355484" marR="0" lvl="0" indent="-355484" defTabSz="1219170" fontAlgn="auto" latinLnBrk="0" hangingPunct="0">
              <a:lnSpc>
                <a:spcPct val="90000"/>
              </a:lnSpc>
              <a:spcBef>
                <a:spcPts val="933"/>
              </a:spcBef>
              <a:spcAft>
                <a:spcPts val="0"/>
              </a:spcAft>
              <a:buClrTx/>
              <a:buSzTx/>
              <a:tabLst/>
            </a:pPr>
            <a:r>
              <a:rPr lang="en-US"/>
              <a:t>#</a:t>
            </a:r>
          </a:p>
        </p:txBody>
      </p:sp>
      <p:sp>
        <p:nvSpPr>
          <p:cNvPr id="57" name="Text Placeholder 2">
            <a:extLst>
              <a:ext uri="{FF2B5EF4-FFF2-40B4-BE49-F238E27FC236}">
                <a16:creationId xmlns:a16="http://schemas.microsoft.com/office/drawing/2014/main" id="{F3C5E117-8F4B-4FE4-AACB-EA58AA813C39}"/>
              </a:ext>
            </a:extLst>
          </p:cNvPr>
          <p:cNvSpPr>
            <a:spLocks noGrp="1"/>
          </p:cNvSpPr>
          <p:nvPr>
            <p:ph type="body" sz="quarter" idx="31" hasCustomPrompt="1"/>
          </p:nvPr>
        </p:nvSpPr>
        <p:spPr>
          <a:xfrm>
            <a:off x="8603890" y="3365771"/>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58" name="Text Placeholder 2">
            <a:extLst>
              <a:ext uri="{FF2B5EF4-FFF2-40B4-BE49-F238E27FC236}">
                <a16:creationId xmlns:a16="http://schemas.microsoft.com/office/drawing/2014/main" id="{6A62AA90-85FF-4788-B28A-C7FFFE765497}"/>
              </a:ext>
            </a:extLst>
          </p:cNvPr>
          <p:cNvSpPr>
            <a:spLocks noGrp="1"/>
          </p:cNvSpPr>
          <p:nvPr>
            <p:ph type="body" sz="quarter" idx="32" hasCustomPrompt="1"/>
          </p:nvPr>
        </p:nvSpPr>
        <p:spPr>
          <a:xfrm>
            <a:off x="8603890" y="4400644"/>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
        <p:nvSpPr>
          <p:cNvPr id="59" name="Text Placeholder 2">
            <a:extLst>
              <a:ext uri="{FF2B5EF4-FFF2-40B4-BE49-F238E27FC236}">
                <a16:creationId xmlns:a16="http://schemas.microsoft.com/office/drawing/2014/main" id="{BAF173AF-BF60-4159-9B73-130A948AEC3A}"/>
              </a:ext>
            </a:extLst>
          </p:cNvPr>
          <p:cNvSpPr>
            <a:spLocks noGrp="1"/>
          </p:cNvSpPr>
          <p:nvPr>
            <p:ph type="body" sz="quarter" idx="33" hasCustomPrompt="1"/>
          </p:nvPr>
        </p:nvSpPr>
        <p:spPr>
          <a:xfrm>
            <a:off x="8603890" y="5397687"/>
            <a:ext cx="2580577" cy="451104"/>
          </a:xfrm>
          <a:noFill/>
          <a:ln w="12700" cap="flat">
            <a:noFill/>
            <a:miter lim="400000"/>
          </a:ln>
          <a:effectLst/>
        </p:spPr>
        <p:txBody>
          <a:bodyPr wrap="square" lIns="34279" tIns="34279" rIns="34279" bIns="34279" numCol="1" anchor="t">
            <a:noAutofit/>
          </a:bodyPr>
          <a:lstStyle>
            <a:lvl1pPr marL="0" indent="0">
              <a:lnSpc>
                <a:spcPct val="85000"/>
              </a:lnSpc>
              <a:spcBef>
                <a:spcPts val="0"/>
              </a:spcBef>
              <a:buNone/>
              <a:defRPr kumimoji="0" lang="en-US" sz="2000" b="0" u="none" strike="noStrike" cap="none" spc="0" normalizeH="0" baseline="0" dirty="0">
                <a:ln>
                  <a:noFill/>
                </a:ln>
                <a:solidFill>
                  <a:srgbClr val="000000"/>
                </a:solidFill>
                <a:effectLst/>
                <a:uFillTx/>
                <a:latin typeface="Segoe UI"/>
                <a:ea typeface="Segoe UI"/>
                <a:cs typeface="Segoe UI"/>
                <a:sym typeface="Segoe UI"/>
              </a:defRPr>
            </a:lvl1pPr>
          </a:lstStyle>
          <a:p>
            <a:pPr marL="355484" marR="0" lvl="0" indent="-355484" defTabSz="1036294" fontAlgn="auto" latinLnBrk="0" hangingPunct="0">
              <a:lnSpc>
                <a:spcPct val="90000"/>
              </a:lnSpc>
              <a:spcBef>
                <a:spcPts val="667"/>
              </a:spcBef>
              <a:spcAft>
                <a:spcPts val="0"/>
              </a:spcAft>
              <a:buClrTx/>
              <a:buSzTx/>
              <a:tabLst/>
            </a:pPr>
            <a:r>
              <a:rPr lang="en-US"/>
              <a:t>Lorem ipsum</a:t>
            </a:r>
          </a:p>
        </p:txBody>
      </p:sp>
    </p:spTree>
    <p:extLst>
      <p:ext uri="{BB962C8B-B14F-4D97-AF65-F5344CB8AC3E}">
        <p14:creationId xmlns:p14="http://schemas.microsoft.com/office/powerpoint/2010/main" val="43432951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ansition slide">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3987C34-F976-4547-917A-022ADD4F1920}"/>
              </a:ext>
            </a:extLst>
          </p:cNvPr>
          <p:cNvPicPr>
            <a:picLocks noChangeAspect="1"/>
          </p:cNvPicPr>
          <p:nvPr userDrawn="1"/>
        </p:nvPicPr>
        <p:blipFill>
          <a:blip r:embed="rId2">
            <a:alphaModFix amt="81000"/>
          </a:blip>
          <a:stretch>
            <a:fillRect/>
          </a:stretch>
        </p:blipFill>
        <p:spPr>
          <a:xfrm>
            <a:off x="0" y="0"/>
            <a:ext cx="12188389" cy="6858000"/>
          </a:xfrm>
          <a:prstGeom prst="rect">
            <a:avLst/>
          </a:prstGeom>
        </p:spPr>
      </p:pic>
      <p:sp>
        <p:nvSpPr>
          <p:cNvPr id="2" name="Title 1">
            <a:extLst>
              <a:ext uri="{FF2B5EF4-FFF2-40B4-BE49-F238E27FC236}">
                <a16:creationId xmlns:a16="http://schemas.microsoft.com/office/drawing/2014/main" id="{C2575140-C9A3-4558-AA62-7CE75CA0D246}"/>
              </a:ext>
            </a:extLst>
          </p:cNvPr>
          <p:cNvSpPr>
            <a:spLocks noGrp="1"/>
          </p:cNvSpPr>
          <p:nvPr>
            <p:ph type="title" hasCustomPrompt="1"/>
          </p:nvPr>
        </p:nvSpPr>
        <p:spPr>
          <a:xfrm>
            <a:off x="865178" y="2410431"/>
            <a:ext cx="7944684" cy="767389"/>
          </a:xfrm>
        </p:spPr>
        <p:txBody>
          <a:bodyPr anchor="t" anchorCtr="0">
            <a:noAutofit/>
          </a:bodyPr>
          <a:lstStyle>
            <a:lvl1pPr>
              <a:defRPr sz="6400" b="0" cap="all" baseline="0">
                <a:solidFill>
                  <a:schemeClr val="bg1"/>
                </a:solidFill>
              </a:defRPr>
            </a:lvl1pPr>
          </a:lstStyle>
          <a:p>
            <a:r>
              <a:rPr lang="en-US"/>
              <a:t>Transition slide</a:t>
            </a:r>
          </a:p>
        </p:txBody>
      </p:sp>
      <p:pic>
        <p:nvPicPr>
          <p:cNvPr id="9" name="Iphone X in Hand.png" descr="Iphone X in Hand.png">
            <a:extLst>
              <a:ext uri="{FF2B5EF4-FFF2-40B4-BE49-F238E27FC236}">
                <a16:creationId xmlns:a16="http://schemas.microsoft.com/office/drawing/2014/main" id="{07C3988F-9C20-4EAC-B2AF-317E8E3D35A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007530" y="-109144"/>
            <a:ext cx="3184471" cy="6967143"/>
          </a:xfrm>
          <a:prstGeom prst="rect">
            <a:avLst/>
          </a:prstGeom>
          <a:ln w="12700" cap="flat">
            <a:noFill/>
            <a:miter lim="400000"/>
          </a:ln>
          <a:effectLst/>
        </p:spPr>
      </p:pic>
    </p:spTree>
    <p:extLst>
      <p:ext uri="{BB962C8B-B14F-4D97-AF65-F5344CB8AC3E}">
        <p14:creationId xmlns:p14="http://schemas.microsoft.com/office/powerpoint/2010/main" val="2711585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ing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1" name="Content Placeholder 10">
            <a:extLst>
              <a:ext uri="{FF2B5EF4-FFF2-40B4-BE49-F238E27FC236}">
                <a16:creationId xmlns:a16="http://schemas.microsoft.com/office/drawing/2014/main" id="{9C1BD920-F17D-3A41-895A-707D6BA834EE}"/>
              </a:ext>
            </a:extLst>
          </p:cNvPr>
          <p:cNvSpPr>
            <a:spLocks noGrp="1"/>
          </p:cNvSpPr>
          <p:nvPr>
            <p:ph sz="quarter" idx="15" hasCustomPrompt="1"/>
          </p:nvPr>
        </p:nvSpPr>
        <p:spPr>
          <a:xfrm>
            <a:off x="590551" y="1859617"/>
            <a:ext cx="11000316" cy="4160184"/>
          </a:xfrm>
        </p:spPr>
        <p:txBody>
          <a:bodyPr/>
          <a:lstStyle/>
          <a:p>
            <a:pPr lvl="0"/>
            <a:r>
              <a:rPr lang="en-GB"/>
              <a:t>Click to add text</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3549032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sing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F7F49A-ACA3-4083-A4EE-E76F80CC9733}"/>
              </a:ext>
            </a:extLst>
          </p:cNvPr>
          <p:cNvPicPr>
            <a:picLocks noChangeAspect="1"/>
          </p:cNvPicPr>
          <p:nvPr userDrawn="1"/>
        </p:nvPicPr>
        <p:blipFill rotWithShape="1">
          <a:blip r:embed="rId2"/>
          <a:srcRect t="8691" b="3740"/>
          <a:stretch/>
        </p:blipFill>
        <p:spPr>
          <a:xfrm>
            <a:off x="3888171" y="426224"/>
            <a:ext cx="4599732" cy="6431776"/>
          </a:xfrm>
          <a:prstGeom prst="rect">
            <a:avLst/>
          </a:prstGeom>
        </p:spPr>
      </p:pic>
      <p:sp>
        <p:nvSpPr>
          <p:cNvPr id="4" name="Picture Placeholder 3">
            <a:extLst>
              <a:ext uri="{FF2B5EF4-FFF2-40B4-BE49-F238E27FC236}">
                <a16:creationId xmlns:a16="http://schemas.microsoft.com/office/drawing/2014/main" id="{5B7D9B75-3436-45C4-9875-3308FEEA1B3D}"/>
              </a:ext>
            </a:extLst>
          </p:cNvPr>
          <p:cNvSpPr>
            <a:spLocks noGrp="1"/>
          </p:cNvSpPr>
          <p:nvPr>
            <p:ph type="pic" sz="quarter" idx="15" hasCustomPrompt="1"/>
          </p:nvPr>
        </p:nvSpPr>
        <p:spPr>
          <a:xfrm>
            <a:off x="5358029" y="874166"/>
            <a:ext cx="1900768" cy="4078817"/>
          </a:xfrm>
          <a:prstGeom prst="roundRect">
            <a:avLst>
              <a:gd name="adj" fmla="val 10350"/>
            </a:avLst>
          </a:prstGeom>
          <a:solidFill>
            <a:schemeClr val="tx2"/>
          </a:solidFill>
          <a:ln w="12700">
            <a:miter lim="400000"/>
          </a:ln>
        </p:spPr>
        <p:txBody>
          <a:bodyPr lIns="137160" tIns="594360" rIns="137160"/>
          <a:lstStyle>
            <a:lvl1pPr marL="0" indent="0">
              <a:buNone/>
              <a:defRPr b="1">
                <a:solidFill>
                  <a:schemeClr val="bg1"/>
                </a:solidFill>
              </a:defRPr>
            </a:lvl1pPr>
          </a:lstStyle>
          <a:p>
            <a:r>
              <a:rPr lang="en-US"/>
              <a:t>INSERT SCREEN SHOT HERE</a:t>
            </a:r>
          </a:p>
        </p:txBody>
      </p:sp>
      <p:sp>
        <p:nvSpPr>
          <p:cNvPr id="2" name="Titel 1"/>
          <p:cNvSpPr>
            <a:spLocks noGrp="1"/>
          </p:cNvSpPr>
          <p:nvPr>
            <p:ph type="title" hasCustomPrompt="1"/>
          </p:nvPr>
        </p:nvSpPr>
        <p:spPr>
          <a:xfrm>
            <a:off x="590550" y="583566"/>
            <a:ext cx="11000317" cy="379508"/>
          </a:xfrm>
        </p:spPr>
        <p:txBody>
          <a:bodyPr/>
          <a:lstStyle>
            <a:lvl1pPr>
              <a:defRPr cap="all" baseline="0"/>
            </a:lvl1pPr>
          </a:lstStyle>
          <a:p>
            <a:r>
              <a:rPr lang="en-US" noProof="0"/>
              <a:t>CLICK TO ADD TITLE</a:t>
            </a:r>
          </a:p>
        </p:txBody>
      </p:sp>
      <p:sp>
        <p:nvSpPr>
          <p:cNvPr id="10" name="Rectangle 4">
            <a:extLst>
              <a:ext uri="{FF2B5EF4-FFF2-40B4-BE49-F238E27FC236}">
                <a16:creationId xmlns:a16="http://schemas.microsoft.com/office/drawing/2014/main" id="{5EBD1321-DA9D-4540-A695-1A19CB21ADB4}"/>
              </a:ext>
            </a:extLst>
          </p:cNvPr>
          <p:cNvSpPr>
            <a:spLocks noGrp="1" noChangeArrowheads="1"/>
          </p:cNvSpPr>
          <p:nvPr>
            <p:ph type="subTitle" idx="14" hasCustomPrompt="1"/>
          </p:nvPr>
        </p:nvSpPr>
        <p:spPr>
          <a:xfrm>
            <a:off x="590550" y="1100601"/>
            <a:ext cx="11000316" cy="379508"/>
          </a:xfrm>
          <a:prstGeom prst="rect">
            <a:avLst/>
          </a:prstGeom>
        </p:spPr>
        <p:txBody>
          <a:bodyPr/>
          <a:lstStyle>
            <a:lvl1pPr marL="0" indent="0">
              <a:spcAft>
                <a:spcPts val="0"/>
              </a:spcAft>
              <a:buFontTx/>
              <a:buNone/>
              <a:defRPr sz="2400" b="0" i="0" cap="all" baseline="0">
                <a:solidFill>
                  <a:srgbClr val="5F6973"/>
                </a:solidFill>
                <a:latin typeface="Segoe UI" panose="020B0502040204020203" pitchFamily="34" charset="0"/>
                <a:cs typeface="Segoe UI" panose="020B0502040204020203" pitchFamily="34" charset="0"/>
              </a:defRPr>
            </a:lvl1pPr>
          </a:lstStyle>
          <a:p>
            <a:pPr lvl="0"/>
            <a:r>
              <a:rPr lang="en-US" noProof="0"/>
              <a:t>CLICK TO ADD SUBTITLE</a:t>
            </a:r>
          </a:p>
        </p:txBody>
      </p:sp>
      <p:sp>
        <p:nvSpPr>
          <p:cNvPr id="15" name="Slide Number Placeholder 1">
            <a:extLst>
              <a:ext uri="{FF2B5EF4-FFF2-40B4-BE49-F238E27FC236}">
                <a16:creationId xmlns:a16="http://schemas.microsoft.com/office/drawing/2014/main" id="{4A6D837C-807D-4796-AB43-AA1855497208}"/>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884350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B6D039-1394-46FD-B04E-963721C51A12}"/>
              </a:ext>
            </a:extLst>
          </p:cNvPr>
          <p:cNvPicPr>
            <a:picLocks noChangeAspect="1"/>
          </p:cNvPicPr>
          <p:nvPr userDrawn="1"/>
        </p:nvPicPr>
        <p:blipFill>
          <a:blip r:embed="rId28"/>
          <a:stretch>
            <a:fillRect/>
          </a:stretch>
        </p:blipFill>
        <p:spPr>
          <a:xfrm>
            <a:off x="10110076" y="6127343"/>
            <a:ext cx="1757176" cy="560832"/>
          </a:xfrm>
          <a:prstGeom prst="rect">
            <a:avLst/>
          </a:prstGeom>
        </p:spPr>
      </p:pic>
      <p:graphicFrame>
        <p:nvGraphicFramePr>
          <p:cNvPr id="5" name="Objekt 4" hidden="1">
            <a:extLst>
              <a:ext uri="{FF2B5EF4-FFF2-40B4-BE49-F238E27FC236}">
                <a16:creationId xmlns:a16="http://schemas.microsoft.com/office/drawing/2014/main" id="{21AF93B4-BA62-4C3C-B98C-83EFD9DE594A}"/>
              </a:ext>
            </a:extLst>
          </p:cNvPr>
          <p:cNvGraphicFramePr>
            <a:graphicFrameLocks noChangeAspect="1"/>
          </p:cNvGraphicFramePr>
          <p:nvPr userDrawn="1">
            <p:custDataLst>
              <p:tags r:id="rId27"/>
            </p:custDataLst>
            <p:extLst>
              <p:ext uri="{D42A27DB-BD31-4B8C-83A1-F6EECF244321}">
                <p14:modId xmlns:p14="http://schemas.microsoft.com/office/powerpoint/2010/main" val="34323289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9" imgW="498" imgH="499" progId="TCLayout.ActiveDocument.1">
                  <p:embed/>
                </p:oleObj>
              </mc:Choice>
              <mc:Fallback>
                <p:oleObj name="think-cell Folie" r:id="rId29" imgW="498" imgH="499" progId="TCLayout.ActiveDocument.1">
                  <p:embed/>
                  <p:pic>
                    <p:nvPicPr>
                      <p:cNvPr id="5" name="Objekt 4" hidden="1">
                        <a:extLst>
                          <a:ext uri="{FF2B5EF4-FFF2-40B4-BE49-F238E27FC236}">
                            <a16:creationId xmlns:a16="http://schemas.microsoft.com/office/drawing/2014/main" id="{21AF93B4-BA62-4C3C-B98C-83EFD9DE594A}"/>
                          </a:ext>
                        </a:extLst>
                      </p:cNvPr>
                      <p:cNvPicPr/>
                      <p:nvPr/>
                    </p:nvPicPr>
                    <p:blipFill>
                      <a:blip r:embed="rId30"/>
                      <a:stretch>
                        <a:fillRect/>
                      </a:stretch>
                    </p:blipFill>
                    <p:spPr>
                      <a:xfrm>
                        <a:off x="2118" y="2118"/>
                        <a:ext cx="2117" cy="2117"/>
                      </a:xfrm>
                      <a:prstGeom prst="rect">
                        <a:avLst/>
                      </a:prstGeom>
                    </p:spPr>
                  </p:pic>
                </p:oleObj>
              </mc:Fallback>
            </mc:AlternateContent>
          </a:graphicData>
        </a:graphic>
      </p:graphicFrame>
      <p:sp>
        <p:nvSpPr>
          <p:cNvPr id="1027" name="Rectangle 2"/>
          <p:cNvSpPr>
            <a:spLocks noGrp="1" noChangeArrowheads="1"/>
          </p:cNvSpPr>
          <p:nvPr>
            <p:ph type="title"/>
          </p:nvPr>
        </p:nvSpPr>
        <p:spPr bwMode="gray">
          <a:xfrm>
            <a:off x="603043" y="583566"/>
            <a:ext cx="10998407" cy="453457"/>
          </a:xfrm>
          <a:prstGeom prst="rect">
            <a:avLst/>
          </a:prstGeom>
          <a:ln w="12700">
            <a:miter lim="400000"/>
          </a:ln>
        </p:spPr>
        <p:txBody>
          <a:bodyPr vert="horz" wrap="square" lIns="0" tIns="0" rIns="0" bIns="0">
            <a:noAutofit/>
          </a:bodyPr>
          <a:lstStyle/>
          <a:p>
            <a:pPr marL="0" marR="0" lvl="0" indent="0" defTabSz="1219140" fontAlgn="auto" latinLnBrk="0" hangingPunct="0">
              <a:spcBef>
                <a:spcPts val="0"/>
              </a:spcBef>
              <a:spcAft>
                <a:spcPts val="0"/>
              </a:spcAft>
              <a:buClrTx/>
              <a:buSzTx/>
              <a:buFontTx/>
              <a:buNone/>
              <a:tabLst/>
            </a:pPr>
            <a:r>
              <a:rPr lang="en-US" noProof="0"/>
              <a:t>CLICK TO ADD TITLE</a:t>
            </a:r>
          </a:p>
        </p:txBody>
      </p:sp>
      <p:sp>
        <p:nvSpPr>
          <p:cNvPr id="9" name="Rectangle 3">
            <a:extLst>
              <a:ext uri="{FF2B5EF4-FFF2-40B4-BE49-F238E27FC236}">
                <a16:creationId xmlns:a16="http://schemas.microsoft.com/office/drawing/2014/main" id="{4EEB7FFF-851E-4745-B48A-0A0B0946667C}"/>
              </a:ext>
            </a:extLst>
          </p:cNvPr>
          <p:cNvSpPr>
            <a:spLocks noGrp="1" noChangeArrowheads="1"/>
          </p:cNvSpPr>
          <p:nvPr>
            <p:ph type="body" idx="1"/>
          </p:nvPr>
        </p:nvSpPr>
        <p:spPr bwMode="gray">
          <a:xfrm>
            <a:off x="590551" y="1859618"/>
            <a:ext cx="10593916" cy="416044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Slide Number Placeholder 1">
            <a:extLst>
              <a:ext uri="{FF2B5EF4-FFF2-40B4-BE49-F238E27FC236}">
                <a16:creationId xmlns:a16="http://schemas.microsoft.com/office/drawing/2014/main" id="{150B971E-D538-F944-8424-D444C9649064}"/>
              </a:ext>
            </a:extLst>
          </p:cNvPr>
          <p:cNvSpPr>
            <a:spLocks noGrp="1"/>
          </p:cNvSpPr>
          <p:nvPr>
            <p:ph type="sldNum" sz="quarter" idx="4"/>
          </p:nvPr>
        </p:nvSpPr>
        <p:spPr>
          <a:xfrm>
            <a:off x="8652326" y="6323210"/>
            <a:ext cx="1409237" cy="167165"/>
          </a:xfrm>
          <a:prstGeom prst="rect">
            <a:avLst/>
          </a:prstGeom>
          <a:noFill/>
          <a:ln>
            <a:noFill/>
          </a:ln>
        </p:spPr>
        <p:txBody>
          <a:bodyPr lIns="0" tIns="0" rIns="0" bIns="0"/>
          <a:lstStyle>
            <a:lvl1pPr algn="r">
              <a:defRPr lang="de-DE" sz="1067" b="0" i="0" smtClean="0">
                <a:solidFill>
                  <a:srgbClr val="5F6973"/>
                </a:solidFill>
                <a:latin typeface="Segoe UI Light" panose="020B0502040204020203" pitchFamily="34" charset="0"/>
                <a:cs typeface="Segoe UI Light" panose="020B0502040204020203" pitchFamily="34" charset="0"/>
              </a:defRPr>
            </a:lvl1pPr>
          </a:lstStyle>
          <a:p>
            <a:fld id="{D3921A94-2C06-EF44-A870-A48BF422ADBF}" type="slidenum">
              <a:rPr lang="de-DE" smtClean="0"/>
              <a:pPr/>
              <a:t>‹Nº›</a:t>
            </a:fld>
            <a:endParaRPr lang="de-DE"/>
          </a:p>
        </p:txBody>
      </p:sp>
    </p:spTree>
    <p:extLst>
      <p:ext uri="{BB962C8B-B14F-4D97-AF65-F5344CB8AC3E}">
        <p14:creationId xmlns:p14="http://schemas.microsoft.com/office/powerpoint/2010/main" val="17572264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sldNum="0" hdr="0" ftr="0" dt="0"/>
  <p:txStyles>
    <p:titleStyle>
      <a:lvl1pPr algn="l" rtl="0" eaLnBrk="1" fontAlgn="base" hangingPunct="1">
        <a:lnSpc>
          <a:spcPct val="85000"/>
        </a:lnSpc>
        <a:spcBef>
          <a:spcPct val="0"/>
        </a:spcBef>
        <a:spcAft>
          <a:spcPct val="0"/>
        </a:spcAft>
        <a:defRPr kumimoji="0" lang="en-US" sz="3467" b="1" i="0" u="none" strike="noStrike" kern="1200" cap="none" spc="0" normalizeH="0" baseline="0" noProof="0" dirty="0">
          <a:ln>
            <a:noFill/>
          </a:ln>
          <a:solidFill>
            <a:srgbClr val="000000"/>
          </a:solidFill>
          <a:effectLst/>
          <a:uFillTx/>
          <a:latin typeface="Segoe UI"/>
          <a:ea typeface="+mj-ea"/>
          <a:cs typeface="Segoe UI"/>
        </a:defRPr>
      </a:lvl1pPr>
      <a:lvl2pPr algn="l" rtl="0" eaLnBrk="1" fontAlgn="base" hangingPunct="1">
        <a:lnSpc>
          <a:spcPct val="95000"/>
        </a:lnSpc>
        <a:spcBef>
          <a:spcPct val="0"/>
        </a:spcBef>
        <a:spcAft>
          <a:spcPct val="0"/>
        </a:spcAft>
        <a:defRPr sz="2665" b="1">
          <a:solidFill>
            <a:schemeClr val="tx2"/>
          </a:solidFill>
          <a:latin typeface="Calibri" charset="0"/>
          <a:cs typeface="Calibri" charset="0"/>
        </a:defRPr>
      </a:lvl2pPr>
      <a:lvl3pPr algn="l" rtl="0" eaLnBrk="1" fontAlgn="base" hangingPunct="1">
        <a:lnSpc>
          <a:spcPct val="95000"/>
        </a:lnSpc>
        <a:spcBef>
          <a:spcPct val="0"/>
        </a:spcBef>
        <a:spcAft>
          <a:spcPct val="0"/>
        </a:spcAft>
        <a:defRPr sz="2665" b="1">
          <a:solidFill>
            <a:schemeClr val="tx2"/>
          </a:solidFill>
          <a:latin typeface="Calibri" charset="0"/>
          <a:cs typeface="Calibri" charset="0"/>
        </a:defRPr>
      </a:lvl3pPr>
      <a:lvl4pPr algn="l" rtl="0" eaLnBrk="1" fontAlgn="base" hangingPunct="1">
        <a:lnSpc>
          <a:spcPct val="95000"/>
        </a:lnSpc>
        <a:spcBef>
          <a:spcPct val="0"/>
        </a:spcBef>
        <a:spcAft>
          <a:spcPct val="0"/>
        </a:spcAft>
        <a:defRPr sz="2665" b="1">
          <a:solidFill>
            <a:schemeClr val="tx2"/>
          </a:solidFill>
          <a:latin typeface="Calibri" charset="0"/>
          <a:cs typeface="Calibri" charset="0"/>
        </a:defRPr>
      </a:lvl4pPr>
      <a:lvl5pPr algn="l" rtl="0" eaLnBrk="1" fontAlgn="base" hangingPunct="1">
        <a:lnSpc>
          <a:spcPct val="95000"/>
        </a:lnSpc>
        <a:spcBef>
          <a:spcPct val="0"/>
        </a:spcBef>
        <a:spcAft>
          <a:spcPct val="0"/>
        </a:spcAft>
        <a:defRPr sz="2665" b="1">
          <a:solidFill>
            <a:schemeClr val="tx2"/>
          </a:solidFill>
          <a:latin typeface="Calibri" charset="0"/>
          <a:cs typeface="Calibri" charset="0"/>
        </a:defRPr>
      </a:lvl5pPr>
      <a:lvl6pPr marL="609402" algn="l" rtl="0" eaLnBrk="1" fontAlgn="base" hangingPunct="1">
        <a:lnSpc>
          <a:spcPct val="95000"/>
        </a:lnSpc>
        <a:spcBef>
          <a:spcPct val="0"/>
        </a:spcBef>
        <a:spcAft>
          <a:spcPct val="0"/>
        </a:spcAft>
        <a:defRPr sz="2665" b="1">
          <a:solidFill>
            <a:schemeClr val="tx2"/>
          </a:solidFill>
          <a:latin typeface="Calibri" charset="0"/>
          <a:cs typeface="Calibri" charset="0"/>
        </a:defRPr>
      </a:lvl6pPr>
      <a:lvl7pPr marL="1218804" algn="l" rtl="0" eaLnBrk="1" fontAlgn="base" hangingPunct="1">
        <a:lnSpc>
          <a:spcPct val="95000"/>
        </a:lnSpc>
        <a:spcBef>
          <a:spcPct val="0"/>
        </a:spcBef>
        <a:spcAft>
          <a:spcPct val="0"/>
        </a:spcAft>
        <a:defRPr sz="2665" b="1">
          <a:solidFill>
            <a:schemeClr val="tx2"/>
          </a:solidFill>
          <a:latin typeface="Calibri" charset="0"/>
          <a:cs typeface="Calibri" charset="0"/>
        </a:defRPr>
      </a:lvl7pPr>
      <a:lvl8pPr marL="1828206" algn="l" rtl="0" eaLnBrk="1" fontAlgn="base" hangingPunct="1">
        <a:lnSpc>
          <a:spcPct val="95000"/>
        </a:lnSpc>
        <a:spcBef>
          <a:spcPct val="0"/>
        </a:spcBef>
        <a:spcAft>
          <a:spcPct val="0"/>
        </a:spcAft>
        <a:defRPr sz="2665" b="1">
          <a:solidFill>
            <a:schemeClr val="tx2"/>
          </a:solidFill>
          <a:latin typeface="Calibri" charset="0"/>
          <a:cs typeface="Calibri" charset="0"/>
        </a:defRPr>
      </a:lvl8pPr>
      <a:lvl9pPr marL="2437607" algn="l" rtl="0" eaLnBrk="1" fontAlgn="base" hangingPunct="1">
        <a:lnSpc>
          <a:spcPct val="95000"/>
        </a:lnSpc>
        <a:spcBef>
          <a:spcPct val="0"/>
        </a:spcBef>
        <a:spcAft>
          <a:spcPct val="0"/>
        </a:spcAft>
        <a:defRPr sz="2665" b="1">
          <a:solidFill>
            <a:schemeClr val="tx2"/>
          </a:solidFill>
          <a:latin typeface="Calibri" charset="0"/>
          <a:cs typeface="Calibri" charset="0"/>
        </a:defRPr>
      </a:lvl9pPr>
    </p:titleStyle>
    <p:bodyStyle>
      <a:lvl1pPr marL="355484" indent="-355484" algn="l" rtl="0" eaLnBrk="1" fontAlgn="base" hangingPunct="1">
        <a:lnSpc>
          <a:spcPct val="105000"/>
        </a:lnSpc>
        <a:spcBef>
          <a:spcPct val="0"/>
        </a:spcBef>
        <a:spcAft>
          <a:spcPts val="800"/>
        </a:spcAft>
        <a:buClr>
          <a:schemeClr val="tx2"/>
        </a:buClr>
        <a:buSzPct val="100000"/>
        <a:buFont typeface="Wingdings" panose="05000000000000000000" pitchFamily="2" charset="2"/>
        <a:buChar char="§"/>
        <a:defRPr sz="2133" b="0" i="0">
          <a:solidFill>
            <a:schemeClr val="tx1"/>
          </a:solidFill>
          <a:latin typeface="Segoe UI" panose="020B0502040204020203" pitchFamily="34" charset="0"/>
          <a:ea typeface="+mn-ea"/>
          <a:cs typeface="Segoe UI" panose="020B0502040204020203" pitchFamily="34" charset="0"/>
        </a:defRPr>
      </a:lvl1pPr>
      <a:lvl2pPr marL="706737" indent="-349137" algn="l" rtl="0" eaLnBrk="1" fontAlgn="base" hangingPunct="1">
        <a:lnSpc>
          <a:spcPct val="105000"/>
        </a:lnSpc>
        <a:spcBef>
          <a:spcPct val="0"/>
        </a:spcBef>
        <a:spcAft>
          <a:spcPts val="800"/>
        </a:spcAft>
        <a:buClr>
          <a:schemeClr val="tx2"/>
        </a:buClr>
        <a:buSzPct val="100000"/>
        <a:buFont typeface="Symbol" pitchFamily="2" charset="2"/>
        <a:buChar char="-"/>
        <a:defRPr sz="2133" b="0" i="0">
          <a:solidFill>
            <a:schemeClr val="tx1"/>
          </a:solidFill>
          <a:latin typeface="Segoe UI" panose="020B0502040204020203" pitchFamily="34" charset="0"/>
          <a:cs typeface="Segoe UI" panose="020B0502040204020203" pitchFamily="34" charset="0"/>
        </a:defRPr>
      </a:lvl2pPr>
      <a:lvl3pPr marL="1074917" indent="-366066" algn="l" rtl="0" eaLnBrk="1" fontAlgn="base" hangingPunct="1">
        <a:lnSpc>
          <a:spcPct val="105000"/>
        </a:lnSpc>
        <a:spcBef>
          <a:spcPct val="0"/>
        </a:spcBef>
        <a:spcAft>
          <a:spcPts val="800"/>
        </a:spcAft>
        <a:buClr>
          <a:schemeClr val="tx2"/>
        </a:buClr>
        <a:buSzPct val="100000"/>
        <a:buFont typeface="Symbol" pitchFamily="2" charset="2"/>
        <a:buChar char="-"/>
        <a:defRPr sz="2133" b="0" i="0">
          <a:solidFill>
            <a:schemeClr val="tx1"/>
          </a:solidFill>
          <a:latin typeface="Segoe UI" panose="020B0502040204020203" pitchFamily="34" charset="0"/>
          <a:cs typeface="Segoe UI" panose="020B0502040204020203" pitchFamily="34" charset="0"/>
        </a:defRPr>
      </a:lvl3pPr>
      <a:lvl4pPr marL="1430402" indent="-353368" algn="l" rtl="0" eaLnBrk="1" fontAlgn="base" hangingPunct="1">
        <a:lnSpc>
          <a:spcPct val="105000"/>
        </a:lnSpc>
        <a:spcBef>
          <a:spcPct val="0"/>
        </a:spcBef>
        <a:spcAft>
          <a:spcPts val="800"/>
        </a:spcAft>
        <a:buClr>
          <a:schemeClr val="tx2"/>
        </a:buClr>
        <a:buSzPct val="100000"/>
        <a:buFont typeface="Symbol" pitchFamily="2" charset="2"/>
        <a:buChar char="-"/>
        <a:defRPr sz="2133" b="0" i="0">
          <a:solidFill>
            <a:schemeClr val="tx1"/>
          </a:solidFill>
          <a:latin typeface="Segoe UI" panose="020B0502040204020203" pitchFamily="34" charset="0"/>
          <a:cs typeface="Segoe UI" panose="020B0502040204020203" pitchFamily="34" charset="0"/>
        </a:defRPr>
      </a:lvl4pPr>
      <a:lvl5pPr marL="1785886" indent="-353368" algn="l" rtl="0" eaLnBrk="1" fontAlgn="base" hangingPunct="1">
        <a:lnSpc>
          <a:spcPct val="105000"/>
        </a:lnSpc>
        <a:spcBef>
          <a:spcPct val="0"/>
        </a:spcBef>
        <a:spcAft>
          <a:spcPts val="800"/>
        </a:spcAft>
        <a:buClr>
          <a:schemeClr val="tx2"/>
        </a:buClr>
        <a:buSzPct val="100000"/>
        <a:buFont typeface="Symbol" pitchFamily="2" charset="2"/>
        <a:buChar char="-"/>
        <a:defRPr sz="2133" b="0" i="0">
          <a:solidFill>
            <a:schemeClr val="tx1"/>
          </a:solidFill>
          <a:latin typeface="Segoe UI" panose="020B0502040204020203" pitchFamily="34" charset="0"/>
          <a:cs typeface="Segoe UI" panose="020B0502040204020203" pitchFamily="34" charset="0"/>
        </a:defRPr>
      </a:lvl5pPr>
      <a:lvl6pPr marL="2395288" indent="-353368" algn="l" rtl="0" eaLnBrk="1" fontAlgn="base" hangingPunct="1">
        <a:lnSpc>
          <a:spcPct val="105000"/>
        </a:lnSpc>
        <a:spcBef>
          <a:spcPct val="0"/>
        </a:spcBef>
        <a:spcAft>
          <a:spcPct val="0"/>
        </a:spcAft>
        <a:buClr>
          <a:schemeClr val="tx2"/>
        </a:buClr>
        <a:buSzPct val="120000"/>
        <a:buChar char="•"/>
        <a:defRPr sz="2133">
          <a:solidFill>
            <a:schemeClr val="tx1"/>
          </a:solidFill>
          <a:latin typeface="+mn-lt"/>
          <a:cs typeface="+mn-cs"/>
        </a:defRPr>
      </a:lvl6pPr>
      <a:lvl7pPr marL="3004690" indent="-353368" algn="l" rtl="0" eaLnBrk="1" fontAlgn="base" hangingPunct="1">
        <a:lnSpc>
          <a:spcPct val="105000"/>
        </a:lnSpc>
        <a:spcBef>
          <a:spcPct val="0"/>
        </a:spcBef>
        <a:spcAft>
          <a:spcPct val="0"/>
        </a:spcAft>
        <a:buClr>
          <a:schemeClr val="tx2"/>
        </a:buClr>
        <a:buSzPct val="120000"/>
        <a:buChar char="•"/>
        <a:defRPr sz="2133">
          <a:solidFill>
            <a:schemeClr val="tx1"/>
          </a:solidFill>
          <a:latin typeface="+mn-lt"/>
          <a:cs typeface="+mn-cs"/>
        </a:defRPr>
      </a:lvl7pPr>
      <a:lvl8pPr marL="3614092" indent="-353368" algn="l" rtl="0" eaLnBrk="1" fontAlgn="base" hangingPunct="1">
        <a:lnSpc>
          <a:spcPct val="105000"/>
        </a:lnSpc>
        <a:spcBef>
          <a:spcPct val="0"/>
        </a:spcBef>
        <a:spcAft>
          <a:spcPct val="0"/>
        </a:spcAft>
        <a:buClr>
          <a:schemeClr val="tx2"/>
        </a:buClr>
        <a:buSzPct val="120000"/>
        <a:buChar char="•"/>
        <a:defRPr sz="2133">
          <a:solidFill>
            <a:schemeClr val="tx1"/>
          </a:solidFill>
          <a:latin typeface="+mn-lt"/>
          <a:cs typeface="+mn-cs"/>
        </a:defRPr>
      </a:lvl8pPr>
      <a:lvl9pPr marL="4223493" indent="-353368" algn="l" rtl="0" eaLnBrk="1" fontAlgn="base" hangingPunct="1">
        <a:lnSpc>
          <a:spcPct val="105000"/>
        </a:lnSpc>
        <a:spcBef>
          <a:spcPct val="0"/>
        </a:spcBef>
        <a:spcAft>
          <a:spcPct val="0"/>
        </a:spcAft>
        <a:buClr>
          <a:schemeClr val="tx2"/>
        </a:buClr>
        <a:buSzPct val="120000"/>
        <a:buChar char="•"/>
        <a:defRPr sz="2133">
          <a:solidFill>
            <a:schemeClr val="tx1"/>
          </a:solidFill>
          <a:latin typeface="+mn-lt"/>
          <a:cs typeface="+mn-cs"/>
        </a:defRPr>
      </a:lvl9pPr>
    </p:bodyStyle>
    <p:otherStyle>
      <a:defPPr>
        <a:defRPr lang="de-DE"/>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7"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6" pos="5284">
          <p15:clr>
            <a:srgbClr val="F26B43"/>
          </p15:clr>
        </p15:guide>
        <p15:guide id="9" orient="horz" pos="877">
          <p15:clr>
            <a:srgbClr val="F26B43"/>
          </p15:clr>
        </p15:guide>
        <p15:guide id="10" orient="horz" pos="2844">
          <p15:clr>
            <a:srgbClr val="F26B43"/>
          </p15:clr>
        </p15:guide>
        <p15:guide id="12" pos="476">
          <p15:clr>
            <a:srgbClr val="F26B43"/>
          </p15:clr>
        </p15:guide>
        <p15:guide id="13" pos="279">
          <p15:clr>
            <a:srgbClr val="F26B43"/>
          </p15:clr>
        </p15:guide>
        <p15:guide id="14" pos="5476">
          <p15:clr>
            <a:srgbClr val="F26B43"/>
          </p15:clr>
        </p15:guide>
        <p15:guide id="15" orient="horz" pos="515">
          <p15:clr>
            <a:srgbClr val="F26B43"/>
          </p15:clr>
        </p15:guide>
        <p15:guide id="16" orient="horz" pos="27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50.png"/><Relationship Id="rId7" Type="http://schemas.openxmlformats.org/officeDocument/2006/relationships/image" Target="../media/image87.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51.svg"/><Relationship Id="rId9" Type="http://schemas.openxmlformats.org/officeDocument/2006/relationships/image" Target="../media/image89.jpeg"/></Relationships>
</file>

<file path=ppt/slides/_rels/slide11.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notesSlide" Target="../notesSlides/notesSlide3.xml"/><Relationship Id="rId7" Type="http://schemas.openxmlformats.org/officeDocument/2006/relationships/image" Target="../media/image50.png"/><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91.png"/><Relationship Id="rId7" Type="http://schemas.openxmlformats.org/officeDocument/2006/relationships/image" Target="../media/image51.svg"/><Relationship Id="rId12" Type="http://schemas.openxmlformats.org/officeDocument/2006/relationships/image" Target="../media/image95.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50.png"/><Relationship Id="rId11" Type="http://schemas.microsoft.com/office/2007/relationships/hdphoto" Target="../media/hdphoto5.wdp"/><Relationship Id="rId5" Type="http://schemas.openxmlformats.org/officeDocument/2006/relationships/image" Target="../media/image2.emf"/><Relationship Id="rId10" Type="http://schemas.openxmlformats.org/officeDocument/2006/relationships/image" Target="../media/image94.png"/><Relationship Id="rId4" Type="http://schemas.openxmlformats.org/officeDocument/2006/relationships/oleObject" Target="../embeddings/oleObject9.bin"/><Relationship Id="rId9" Type="http://schemas.openxmlformats.org/officeDocument/2006/relationships/image" Target="../media/image93.png"/></Relationships>
</file>

<file path=ppt/slides/_rels/slide13.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10.png"/><Relationship Id="rId18" Type="http://schemas.openxmlformats.org/officeDocument/2006/relationships/image" Target="../media/image51.svg"/><Relationship Id="rId3" Type="http://schemas.openxmlformats.org/officeDocument/2006/relationships/oleObject" Target="../embeddings/oleObject10.bin"/><Relationship Id="rId7" Type="http://schemas.openxmlformats.org/officeDocument/2006/relationships/image" Target="../media/image98.png"/><Relationship Id="rId12" Type="http://schemas.openxmlformats.org/officeDocument/2006/relationships/image" Target="../media/image105.svg"/><Relationship Id="rId17" Type="http://schemas.openxmlformats.org/officeDocument/2006/relationships/image" Target="../media/image50.png"/><Relationship Id="rId2" Type="http://schemas.openxmlformats.org/officeDocument/2006/relationships/slideLayout" Target="../slideLayouts/slideLayout20.xml"/><Relationship Id="rId16" Type="http://schemas.openxmlformats.org/officeDocument/2006/relationships/image" Target="../media/image113.svg"/><Relationship Id="rId1" Type="http://schemas.openxmlformats.org/officeDocument/2006/relationships/tags" Target="../tags/tag10.xml"/><Relationship Id="rId6" Type="http://schemas.openxmlformats.org/officeDocument/2006/relationships/image" Target="../media/image97.png"/><Relationship Id="rId11" Type="http://schemas.openxmlformats.org/officeDocument/2006/relationships/image" Target="../media/image104.png"/><Relationship Id="rId5" Type="http://schemas.openxmlformats.org/officeDocument/2006/relationships/image" Target="../media/image96.png"/><Relationship Id="rId15" Type="http://schemas.openxmlformats.org/officeDocument/2006/relationships/image" Target="../media/image112.png"/><Relationship Id="rId10" Type="http://schemas.openxmlformats.org/officeDocument/2006/relationships/image" Target="../media/image101.svg"/><Relationship Id="rId19" Type="http://schemas.openxmlformats.org/officeDocument/2006/relationships/image" Target="../media/image1.png"/><Relationship Id="rId4" Type="http://schemas.openxmlformats.org/officeDocument/2006/relationships/image" Target="../media/image2.emf"/><Relationship Id="rId9" Type="http://schemas.openxmlformats.org/officeDocument/2006/relationships/image" Target="../media/image100.png"/><Relationship Id="rId14" Type="http://schemas.openxmlformats.org/officeDocument/2006/relationships/image" Target="../media/image111.svg"/></Relationships>
</file>

<file path=ppt/slides/_rels/slide14.xml.rels><?xml version="1.0" encoding="UTF-8" standalone="yes"?>
<Relationships xmlns="http://schemas.openxmlformats.org/package/2006/relationships"><Relationship Id="rId3" Type="http://schemas.openxmlformats.org/officeDocument/2006/relationships/image" Target="../media/image77.svg"/><Relationship Id="rId7" Type="http://schemas.openxmlformats.org/officeDocument/2006/relationships/image" Target="../media/image115.png"/><Relationship Id="rId2" Type="http://schemas.openxmlformats.org/officeDocument/2006/relationships/image" Target="../media/image76.png"/><Relationship Id="rId1" Type="http://schemas.openxmlformats.org/officeDocument/2006/relationships/slideLayout" Target="../slideLayouts/slideLayout21.xml"/><Relationship Id="rId6" Type="http://schemas.openxmlformats.org/officeDocument/2006/relationships/customXml" Target="../ink/ink13.xml"/><Relationship Id="rId5" Type="http://schemas.openxmlformats.org/officeDocument/2006/relationships/image" Target="../media/image114.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115.jpeg"/><Relationship Id="rId13" Type="http://schemas.openxmlformats.org/officeDocument/2006/relationships/image" Target="../media/image113.svg"/><Relationship Id="rId18" Type="http://schemas.openxmlformats.org/officeDocument/2006/relationships/image" Target="../media/image117.png"/><Relationship Id="rId3" Type="http://schemas.openxmlformats.org/officeDocument/2006/relationships/notesSlide" Target="../notesSlides/notesSlide4.xml"/><Relationship Id="rId7" Type="http://schemas.openxmlformats.org/officeDocument/2006/relationships/image" Target="../media/image51.svg"/><Relationship Id="rId12" Type="http://schemas.openxmlformats.org/officeDocument/2006/relationships/image" Target="../media/image112.png"/><Relationship Id="rId17" Type="http://schemas.openxmlformats.org/officeDocument/2006/relationships/image" Target="../media/image97.png"/><Relationship Id="rId2" Type="http://schemas.openxmlformats.org/officeDocument/2006/relationships/slideLayout" Target="../slideLayouts/slideLayout13.xml"/><Relationship Id="rId16" Type="http://schemas.openxmlformats.org/officeDocument/2006/relationships/image" Target="../media/image96.png"/><Relationship Id="rId20" Type="http://schemas.openxmlformats.org/officeDocument/2006/relationships/hyperlink" Target="https://dm.henkel-dam.com/is/content/henkel/HR-Pulse-Customertestimonial-video-ENsubtitles" TargetMode="External"/><Relationship Id="rId1" Type="http://schemas.openxmlformats.org/officeDocument/2006/relationships/tags" Target="../tags/tag11.xml"/><Relationship Id="rId6" Type="http://schemas.openxmlformats.org/officeDocument/2006/relationships/image" Target="../media/image50.png"/><Relationship Id="rId11" Type="http://schemas.openxmlformats.org/officeDocument/2006/relationships/image" Target="../media/image111.svg"/><Relationship Id="rId5" Type="http://schemas.openxmlformats.org/officeDocument/2006/relationships/image" Target="../media/image2.emf"/><Relationship Id="rId15" Type="http://schemas.openxmlformats.org/officeDocument/2006/relationships/image" Target="../media/image101.svg"/><Relationship Id="rId10" Type="http://schemas.openxmlformats.org/officeDocument/2006/relationships/image" Target="../media/image110.png"/><Relationship Id="rId19" Type="http://schemas.openxmlformats.org/officeDocument/2006/relationships/image" Target="../media/image118.svg"/><Relationship Id="rId4" Type="http://schemas.openxmlformats.org/officeDocument/2006/relationships/oleObject" Target="../embeddings/oleObject11.bin"/><Relationship Id="rId9" Type="http://schemas.openxmlformats.org/officeDocument/2006/relationships/image" Target="../media/image116.jpeg"/><Relationship Id="rId14" Type="http://schemas.openxmlformats.org/officeDocument/2006/relationships/image" Target="../media/image100.png"/></Relationships>
</file>

<file path=ppt/slides/_rels/slide1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91.png"/><Relationship Id="rId7" Type="http://schemas.openxmlformats.org/officeDocument/2006/relationships/image" Target="../media/image51.svg"/><Relationship Id="rId12" Type="http://schemas.openxmlformats.org/officeDocument/2006/relationships/image" Target="../media/image123.png"/><Relationship Id="rId17" Type="http://schemas.openxmlformats.org/officeDocument/2006/relationships/image" Target="../media/image95.png"/><Relationship Id="rId2" Type="http://schemas.openxmlformats.org/officeDocument/2006/relationships/slideLayout" Target="../slideLayouts/slideLayout8.xml"/><Relationship Id="rId16" Type="http://schemas.openxmlformats.org/officeDocument/2006/relationships/image" Target="../media/image93.png"/><Relationship Id="rId1" Type="http://schemas.openxmlformats.org/officeDocument/2006/relationships/tags" Target="../tags/tag12.xml"/><Relationship Id="rId6" Type="http://schemas.openxmlformats.org/officeDocument/2006/relationships/image" Target="../media/image50.png"/><Relationship Id="rId11" Type="http://schemas.openxmlformats.org/officeDocument/2006/relationships/image" Target="../media/image122.png"/><Relationship Id="rId5" Type="http://schemas.openxmlformats.org/officeDocument/2006/relationships/image" Target="../media/image2.emf"/><Relationship Id="rId15" Type="http://schemas.openxmlformats.org/officeDocument/2006/relationships/image" Target="../media/image92.png"/><Relationship Id="rId10" Type="http://schemas.openxmlformats.org/officeDocument/2006/relationships/image" Target="../media/image121.png"/><Relationship Id="rId4" Type="http://schemas.openxmlformats.org/officeDocument/2006/relationships/oleObject" Target="../embeddings/oleObject12.bin"/><Relationship Id="rId9" Type="http://schemas.openxmlformats.org/officeDocument/2006/relationships/image" Target="../media/image120.png"/><Relationship Id="rId14" Type="http://schemas.openxmlformats.org/officeDocument/2006/relationships/image" Target="../media/image125.png"/></Relationships>
</file>

<file path=ppt/slides/_rels/slide17.xml.rels><?xml version="1.0" encoding="UTF-8" standalone="yes"?>
<Relationships xmlns="http://schemas.openxmlformats.org/package/2006/relationships"><Relationship Id="rId3" Type="http://schemas.microsoft.com/office/2018/10/relationships/comments" Target="../comments/modernComment_7FFAC22A_7B02B5AE.xml"/><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51.sv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8.tif"/><Relationship Id="rId2" Type="http://schemas.openxmlformats.org/officeDocument/2006/relationships/image" Target="../media/image126.png"/><Relationship Id="rId1" Type="http://schemas.openxmlformats.org/officeDocument/2006/relationships/slideLayout" Target="../slideLayouts/slideLayout24.xml"/><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svg"/><Relationship Id="rId18" Type="http://schemas.openxmlformats.org/officeDocument/2006/relationships/image" Target="../media/image31.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0.png"/><Relationship Id="rId2" Type="http://schemas.openxmlformats.org/officeDocument/2006/relationships/image" Target="../media/image16.png"/><Relationship Id="rId16" Type="http://schemas.openxmlformats.org/officeDocument/2006/relationships/image" Target="../media/image8.tif"/><Relationship Id="rId1" Type="http://schemas.openxmlformats.org/officeDocument/2006/relationships/slideLayout" Target="../slideLayouts/slideLayout23.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emf"/><Relationship Id="rId14" Type="http://schemas.openxmlformats.org/officeDocument/2006/relationships/image" Target="../media/image28.jpeg"/></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0.png"/><Relationship Id="rId3" Type="http://schemas.openxmlformats.org/officeDocument/2006/relationships/notesSlide" Target="../notesSlides/notesSlide1.xml"/><Relationship Id="rId21" Type="http://schemas.openxmlformats.org/officeDocument/2006/relationships/image" Target="../media/image41.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39.png"/><Relationship Id="rId2" Type="http://schemas.openxmlformats.org/officeDocument/2006/relationships/slideLayout" Target="../slideLayouts/slideLayout8.xml"/><Relationship Id="rId16" Type="http://schemas.openxmlformats.org/officeDocument/2006/relationships/customXml" Target="../ink/ink2.xml"/><Relationship Id="rId20" Type="http://schemas.openxmlformats.org/officeDocument/2006/relationships/image" Target="../media/image56.png"/><Relationship Id="rId1" Type="http://schemas.openxmlformats.org/officeDocument/2006/relationships/tags" Target="../tags/tag4.xml"/><Relationship Id="rId6" Type="http://schemas.openxmlformats.org/officeDocument/2006/relationships/image" Target="../media/image5.emf"/><Relationship Id="rId11" Type="http://schemas.openxmlformats.org/officeDocument/2006/relationships/image" Target="../media/image36.png"/><Relationship Id="rId5" Type="http://schemas.openxmlformats.org/officeDocument/2006/relationships/oleObject" Target="../embeddings/oleObject4.bin"/><Relationship Id="rId15" Type="http://schemas.openxmlformats.org/officeDocument/2006/relationships/image" Target="../media/image55.png"/><Relationship Id="rId23" Type="http://schemas.openxmlformats.org/officeDocument/2006/relationships/image" Target="../media/image43.png"/><Relationship Id="rId10" Type="http://schemas.openxmlformats.org/officeDocument/2006/relationships/image" Target="../media/image35.svg"/><Relationship Id="rId19" Type="http://schemas.openxmlformats.org/officeDocument/2006/relationships/customXml" Target="../ink/ink3.xml"/><Relationship Id="rId4" Type="http://schemas.openxmlformats.org/officeDocument/2006/relationships/image" Target="../media/image13.png"/><Relationship Id="rId9" Type="http://schemas.openxmlformats.org/officeDocument/2006/relationships/image" Target="../media/image34.png"/><Relationship Id="rId14" Type="http://schemas.openxmlformats.org/officeDocument/2006/relationships/customXml" Target="../ink/ink1.xml"/><Relationship Id="rId22"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tif"/><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49.png"/><Relationship Id="rId18" Type="http://schemas.microsoft.com/office/2007/relationships/hdphoto" Target="../media/hdphoto4.wdp"/><Relationship Id="rId3" Type="http://schemas.openxmlformats.org/officeDocument/2006/relationships/oleObject" Target="../embeddings/oleObject5.bin"/><Relationship Id="rId7" Type="http://schemas.microsoft.com/office/2007/relationships/hdphoto" Target="../media/hdphoto1.wdp"/><Relationship Id="rId12" Type="http://schemas.openxmlformats.org/officeDocument/2006/relationships/image" Target="../media/image48.png"/><Relationship Id="rId17" Type="http://schemas.openxmlformats.org/officeDocument/2006/relationships/image" Target="../media/image52.png"/><Relationship Id="rId2" Type="http://schemas.openxmlformats.org/officeDocument/2006/relationships/slideLayout" Target="../slideLayouts/slideLayout12.xml"/><Relationship Id="rId16" Type="http://schemas.openxmlformats.org/officeDocument/2006/relationships/image" Target="../media/image51.svg"/><Relationship Id="rId1" Type="http://schemas.openxmlformats.org/officeDocument/2006/relationships/tags" Target="../tags/tag5.xml"/><Relationship Id="rId6" Type="http://schemas.openxmlformats.org/officeDocument/2006/relationships/image" Target="../media/image45.png"/><Relationship Id="rId11" Type="http://schemas.openxmlformats.org/officeDocument/2006/relationships/image" Target="../media/image47.png"/><Relationship Id="rId5" Type="http://schemas.openxmlformats.org/officeDocument/2006/relationships/image" Target="../media/image8.tif"/><Relationship Id="rId15" Type="http://schemas.openxmlformats.org/officeDocument/2006/relationships/image" Target="../media/image50.png"/><Relationship Id="rId10" Type="http://schemas.openxmlformats.org/officeDocument/2006/relationships/slide" Target="slide7.xml"/><Relationship Id="rId19" Type="http://schemas.openxmlformats.org/officeDocument/2006/relationships/image" Target="../media/image53.png"/><Relationship Id="rId4" Type="http://schemas.openxmlformats.org/officeDocument/2006/relationships/image" Target="../media/image2.emf"/><Relationship Id="rId9" Type="http://schemas.microsoft.com/office/2007/relationships/hdphoto" Target="../media/hdphoto2.wdp"/><Relationship Id="rId14" Type="http://schemas.microsoft.com/office/2007/relationships/hdphoto" Target="../media/hdphoto3.wdp"/></Relationships>
</file>

<file path=ppt/slides/_rels/slide7.xml.rels><?xml version="1.0" encoding="UTF-8" standalone="yes"?>
<Relationships xmlns="http://schemas.openxmlformats.org/package/2006/relationships"><Relationship Id="rId3" Type="http://schemas.openxmlformats.org/officeDocument/2006/relationships/image" Target="../media/image8.tif"/><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24.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slide" Target="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oleObject" Target="../embeddings/oleObject6.bin"/><Relationship Id="rId7" Type="http://schemas.openxmlformats.org/officeDocument/2006/relationships/image" Target="../media/image60.jpe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51.svg"/><Relationship Id="rId11" Type="http://schemas.openxmlformats.org/officeDocument/2006/relationships/image" Target="../media/image64.jpeg"/><Relationship Id="rId5" Type="http://schemas.openxmlformats.org/officeDocument/2006/relationships/image" Target="../media/image50.png"/><Relationship Id="rId10" Type="http://schemas.openxmlformats.org/officeDocument/2006/relationships/image" Target="../media/image63.jpeg"/><Relationship Id="rId4" Type="http://schemas.openxmlformats.org/officeDocument/2006/relationships/image" Target="../media/image2.emf"/><Relationship Id="rId9" Type="http://schemas.openxmlformats.org/officeDocument/2006/relationships/image" Target="../media/image62.jpeg"/></Relationships>
</file>

<file path=ppt/slides/_rels/slide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0.png"/><Relationship Id="rId18" Type="http://schemas.openxmlformats.org/officeDocument/2006/relationships/image" Target="../media/image101.png"/><Relationship Id="rId26" Type="http://schemas.openxmlformats.org/officeDocument/2006/relationships/image" Target="../media/image106.png"/><Relationship Id="rId39" Type="http://schemas.openxmlformats.org/officeDocument/2006/relationships/image" Target="../media/image80.svg"/><Relationship Id="rId3" Type="http://schemas.openxmlformats.org/officeDocument/2006/relationships/oleObject" Target="../embeddings/oleObject7.bin"/><Relationship Id="rId21" Type="http://schemas.openxmlformats.org/officeDocument/2006/relationships/customXml" Target="../ink/ink8.xml"/><Relationship Id="rId34" Type="http://schemas.openxmlformats.org/officeDocument/2006/relationships/image" Target="../media/image75.png"/><Relationship Id="rId42" Type="http://schemas.openxmlformats.org/officeDocument/2006/relationships/image" Target="../media/image83.png"/><Relationship Id="rId7" Type="http://schemas.openxmlformats.org/officeDocument/2006/relationships/image" Target="../media/image65.png"/><Relationship Id="rId12" Type="http://schemas.openxmlformats.org/officeDocument/2006/relationships/customXml" Target="../ink/ink4.xml"/><Relationship Id="rId25" Type="http://schemas.openxmlformats.org/officeDocument/2006/relationships/customXml" Target="../ink/ink9.xml"/><Relationship Id="rId33" Type="http://schemas.openxmlformats.org/officeDocument/2006/relationships/image" Target="../media/image74.png"/><Relationship Id="rId38" Type="http://schemas.openxmlformats.org/officeDocument/2006/relationships/image" Target="../media/image79.png"/><Relationship Id="rId2" Type="http://schemas.openxmlformats.org/officeDocument/2006/relationships/slideLayout" Target="../slideLayouts/slideLayout8.xml"/><Relationship Id="rId16" Type="http://schemas.openxmlformats.org/officeDocument/2006/relationships/customXml" Target="../ink/ink6.xml"/><Relationship Id="rId20" Type="http://schemas.openxmlformats.org/officeDocument/2006/relationships/image" Target="../media/image102.png"/><Relationship Id="rId29" Type="http://schemas.openxmlformats.org/officeDocument/2006/relationships/customXml" Target="../ink/ink11.xml"/><Relationship Id="rId41" Type="http://schemas.openxmlformats.org/officeDocument/2006/relationships/image" Target="../media/image82.svg"/><Relationship Id="rId1" Type="http://schemas.openxmlformats.org/officeDocument/2006/relationships/tags" Target="../tags/tag7.xml"/><Relationship Id="rId6" Type="http://schemas.openxmlformats.org/officeDocument/2006/relationships/image" Target="../media/image51.svg"/><Relationship Id="rId11" Type="http://schemas.openxmlformats.org/officeDocument/2006/relationships/image" Target="../media/image69.png"/><Relationship Id="rId24" Type="http://schemas.openxmlformats.org/officeDocument/2006/relationships/image" Target="../media/image73.svg"/><Relationship Id="rId32" Type="http://schemas.openxmlformats.org/officeDocument/2006/relationships/image" Target="../media/image109.png"/><Relationship Id="rId37" Type="http://schemas.openxmlformats.org/officeDocument/2006/relationships/image" Target="../media/image78.png"/><Relationship Id="rId40" Type="http://schemas.openxmlformats.org/officeDocument/2006/relationships/image" Target="../media/image81.png"/><Relationship Id="rId5" Type="http://schemas.openxmlformats.org/officeDocument/2006/relationships/image" Target="../media/image50.png"/><Relationship Id="rId15" Type="http://schemas.openxmlformats.org/officeDocument/2006/relationships/image" Target="../media/image71.png"/><Relationship Id="rId23" Type="http://schemas.openxmlformats.org/officeDocument/2006/relationships/image" Target="../media/image72.png"/><Relationship Id="rId28" Type="http://schemas.openxmlformats.org/officeDocument/2006/relationships/image" Target="../media/image107.png"/><Relationship Id="rId36" Type="http://schemas.openxmlformats.org/officeDocument/2006/relationships/image" Target="../media/image77.svg"/><Relationship Id="rId10" Type="http://schemas.openxmlformats.org/officeDocument/2006/relationships/image" Target="../media/image68.png"/><Relationship Id="rId19" Type="http://schemas.openxmlformats.org/officeDocument/2006/relationships/customXml" Target="../ink/ink7.xml"/><Relationship Id="rId31" Type="http://schemas.openxmlformats.org/officeDocument/2006/relationships/customXml" Target="../ink/ink12.xml"/><Relationship Id="rId4" Type="http://schemas.openxmlformats.org/officeDocument/2006/relationships/image" Target="../media/image2.emf"/><Relationship Id="rId9" Type="http://schemas.openxmlformats.org/officeDocument/2006/relationships/image" Target="../media/image67.png"/><Relationship Id="rId14" Type="http://schemas.openxmlformats.org/officeDocument/2006/relationships/customXml" Target="../ink/ink5.xml"/><Relationship Id="rId22" Type="http://schemas.openxmlformats.org/officeDocument/2006/relationships/image" Target="../media/image103.png"/><Relationship Id="rId27" Type="http://schemas.openxmlformats.org/officeDocument/2006/relationships/customXml" Target="../ink/ink10.xml"/><Relationship Id="rId30" Type="http://schemas.openxmlformats.org/officeDocument/2006/relationships/image" Target="../media/image108.png"/><Relationship Id="rId35" Type="http://schemas.openxmlformats.org/officeDocument/2006/relationships/image" Target="../media/image76.png"/><Relationship Id="rId43" Type="http://schemas.openxmlformats.org/officeDocument/2006/relationships/image" Target="../media/image8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5F10F0-A165-4532-95C5-C916B7D9DF8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175F10F0-A165-4532-95C5-C916B7D9DF8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0D8AEEE-B9B6-47FF-8B28-91100CD3EC86}"/>
              </a:ext>
            </a:extLst>
          </p:cNvPr>
          <p:cNvSpPr>
            <a:spLocks noGrp="1"/>
          </p:cNvSpPr>
          <p:nvPr>
            <p:ph type="body" sz="quarter" idx="10"/>
          </p:nvPr>
        </p:nvSpPr>
        <p:spPr bwMode="gray">
          <a:xfrm>
            <a:off x="750535" y="5669459"/>
            <a:ext cx="7973568" cy="792480"/>
          </a:xfrm>
        </p:spPr>
        <p:txBody>
          <a:bodyPr/>
          <a:lstStyle/>
          <a:p>
            <a:r>
              <a:rPr lang="es-ES" dirty="0"/>
              <a:t>Control Digital de las Fugas en las Bridas</a:t>
            </a:r>
          </a:p>
        </p:txBody>
      </p:sp>
      <p:sp>
        <p:nvSpPr>
          <p:cNvPr id="6" name="Title 1">
            <a:extLst>
              <a:ext uri="{FF2B5EF4-FFF2-40B4-BE49-F238E27FC236}">
                <a16:creationId xmlns:a16="http://schemas.microsoft.com/office/drawing/2014/main" id="{DD5E622D-163C-4627-828F-E9D289044E71}"/>
              </a:ext>
            </a:extLst>
          </p:cNvPr>
          <p:cNvSpPr>
            <a:spLocks noGrp="1"/>
          </p:cNvSpPr>
          <p:nvPr>
            <p:ph type="title" hasCustomPrompt="1"/>
          </p:nvPr>
        </p:nvSpPr>
        <p:spPr>
          <a:xfrm>
            <a:off x="578124" y="792301"/>
            <a:ext cx="5921105" cy="2636699"/>
          </a:xfrm>
        </p:spPr>
        <p:txBody>
          <a:bodyPr vert="horz">
            <a:noAutofit/>
          </a:bodyPr>
          <a:lstStyle>
            <a:lvl1pPr>
              <a:defRPr sz="4800" b="1" cap="all" baseline="0">
                <a:solidFill>
                  <a:schemeClr val="bg1"/>
                </a:solidFill>
              </a:defRPr>
            </a:lvl1pPr>
          </a:lstStyle>
          <a:p>
            <a:r>
              <a:rPr lang="es-ES"/>
              <a:t>Predice las alteraciones de tu equipo</a:t>
            </a:r>
          </a:p>
        </p:txBody>
      </p:sp>
    </p:spTree>
    <p:extLst>
      <p:ext uri="{BB962C8B-B14F-4D97-AF65-F5344CB8AC3E}">
        <p14:creationId xmlns:p14="http://schemas.microsoft.com/office/powerpoint/2010/main" val="59938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ircle">
            <a:extLst>
              <a:ext uri="{FF2B5EF4-FFF2-40B4-BE49-F238E27FC236}">
                <a16:creationId xmlns:a16="http://schemas.microsoft.com/office/drawing/2014/main" id="{8760FC9D-BD61-4EBC-8884-8E1A686C66E0}"/>
              </a:ext>
            </a:extLst>
          </p:cNvPr>
          <p:cNvSpPr/>
          <p:nvPr/>
        </p:nvSpPr>
        <p:spPr bwMode="gray">
          <a:xfrm>
            <a:off x="590549" y="461103"/>
            <a:ext cx="624435" cy="624432"/>
          </a:xfrm>
          <a:prstGeom prst="ellipse">
            <a:avLst/>
          </a:prstGeom>
          <a:solidFill>
            <a:srgbClr val="E10413"/>
          </a:solidFill>
          <a:ln w="12700">
            <a:miter lim="400000"/>
          </a:ln>
        </p:spPr>
        <p:txBody>
          <a:bodyPr lIns="62399" tIns="62399" rIns="62399" bIns="62399" anchor="ctr"/>
          <a:lstStyle/>
          <a:p>
            <a:pPr algn="ctr" defTabSz="1219140" hangingPunct="0">
              <a:defRPr/>
            </a:pPr>
            <a:r>
              <a:rPr lang="es-ES" sz="3200" kern="0">
                <a:solidFill>
                  <a:srgbClr val="FFFFFF"/>
                </a:solidFill>
                <a:latin typeface="Segoe UI" panose="020B0502040204020203" pitchFamily="34" charset="0"/>
                <a:cs typeface="Segoe UI" panose="020B0502040204020203" pitchFamily="34" charset="0"/>
                <a:sym typeface="Segoe UI"/>
              </a:rPr>
              <a:t>1</a:t>
            </a:r>
          </a:p>
        </p:txBody>
      </p:sp>
      <p:grpSp>
        <p:nvGrpSpPr>
          <p:cNvPr id="37" name="Gruppieren 36">
            <a:extLst>
              <a:ext uri="{FF2B5EF4-FFF2-40B4-BE49-F238E27FC236}">
                <a16:creationId xmlns:a16="http://schemas.microsoft.com/office/drawing/2014/main" id="{7C59A565-5791-4079-ABDD-719CA31617A2}"/>
              </a:ext>
            </a:extLst>
          </p:cNvPr>
          <p:cNvGrpSpPr/>
          <p:nvPr/>
        </p:nvGrpSpPr>
        <p:grpSpPr bwMode="gray">
          <a:xfrm>
            <a:off x="11564326" y="162392"/>
            <a:ext cx="547663" cy="683491"/>
            <a:chOff x="8673244" y="121794"/>
            <a:chExt cx="410747" cy="512618"/>
          </a:xfrm>
        </p:grpSpPr>
        <p:grpSp>
          <p:nvGrpSpPr>
            <p:cNvPr id="38" name="Gruppieren 37">
              <a:extLst>
                <a:ext uri="{FF2B5EF4-FFF2-40B4-BE49-F238E27FC236}">
                  <a16:creationId xmlns:a16="http://schemas.microsoft.com/office/drawing/2014/main" id="{14E34094-BD83-4E9A-93D3-E9C58EF90CA6}"/>
                </a:ext>
              </a:extLst>
            </p:cNvPr>
            <p:cNvGrpSpPr/>
            <p:nvPr/>
          </p:nvGrpSpPr>
          <p:grpSpPr bwMode="gray">
            <a:xfrm>
              <a:off x="8673244" y="121794"/>
              <a:ext cx="410747" cy="512618"/>
              <a:chOff x="8166407" y="354405"/>
              <a:chExt cx="564701" cy="704754"/>
            </a:xfrm>
          </p:grpSpPr>
          <p:sp>
            <p:nvSpPr>
              <p:cNvPr id="40" name="Circle">
                <a:hlinkClick r:id="" action="ppaction://noaction"/>
                <a:extLst>
                  <a:ext uri="{FF2B5EF4-FFF2-40B4-BE49-F238E27FC236}">
                    <a16:creationId xmlns:a16="http://schemas.microsoft.com/office/drawing/2014/main" id="{4124349E-9C97-409C-A064-EDF6C2192FA8}"/>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41" name="Rectangle 17">
                <a:extLst>
                  <a:ext uri="{FF2B5EF4-FFF2-40B4-BE49-F238E27FC236}">
                    <a16:creationId xmlns:a16="http://schemas.microsoft.com/office/drawing/2014/main" id="{DC9EA727-3D11-4AC1-A471-E68EDFE9796D}"/>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39" name="Grafik 38" descr="Zurück mit einfarbiger Füllung">
              <a:hlinkClick r:id="" action="ppaction://noaction"/>
              <a:extLst>
                <a:ext uri="{FF2B5EF4-FFF2-40B4-BE49-F238E27FC236}">
                  <a16:creationId xmlns:a16="http://schemas.microsoft.com/office/drawing/2014/main" id="{C8213B42-954B-4BA9-9600-3C8C60DA68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8732841" y="132370"/>
              <a:ext cx="285750" cy="285750"/>
            </a:xfrm>
            <a:prstGeom prst="rect">
              <a:avLst/>
            </a:prstGeom>
          </p:spPr>
        </p:pic>
      </p:grpSp>
      <p:grpSp>
        <p:nvGrpSpPr>
          <p:cNvPr id="4" name="Grupo 3">
            <a:extLst>
              <a:ext uri="{FF2B5EF4-FFF2-40B4-BE49-F238E27FC236}">
                <a16:creationId xmlns:a16="http://schemas.microsoft.com/office/drawing/2014/main" id="{12F44B70-BFFF-4CEC-B4E2-45E493D0EB17}"/>
              </a:ext>
            </a:extLst>
          </p:cNvPr>
          <p:cNvGrpSpPr/>
          <p:nvPr/>
        </p:nvGrpSpPr>
        <p:grpSpPr>
          <a:xfrm>
            <a:off x="3963842" y="1066989"/>
            <a:ext cx="8084868" cy="4971313"/>
            <a:chOff x="2862048" y="1021911"/>
            <a:chExt cx="6063651" cy="3728485"/>
          </a:xfrm>
        </p:grpSpPr>
        <p:pic>
          <p:nvPicPr>
            <p:cNvPr id="34" name="Grafik 33" descr="Ein Bild, das Trockner, Projektor, Licht enthält.&#10;&#10;Automatisch generierte Beschreibung">
              <a:extLst>
                <a:ext uri="{FF2B5EF4-FFF2-40B4-BE49-F238E27FC236}">
                  <a16:creationId xmlns:a16="http://schemas.microsoft.com/office/drawing/2014/main" id="{3EB8C912-81A3-4E71-9CBF-00A4AD1F54C2}"/>
                </a:ext>
              </a:extLst>
            </p:cNvPr>
            <p:cNvPicPr>
              <a:picLocks noChangeAspect="1"/>
            </p:cNvPicPr>
            <p:nvPr/>
          </p:nvPicPr>
          <p:blipFill>
            <a:blip r:embed="rId5"/>
            <a:stretch>
              <a:fillRect/>
            </a:stretch>
          </p:blipFill>
          <p:spPr>
            <a:xfrm>
              <a:off x="2862048" y="1398217"/>
              <a:ext cx="5959429" cy="3352179"/>
            </a:xfrm>
            <a:prstGeom prst="rect">
              <a:avLst/>
            </a:prstGeom>
          </p:spPr>
        </p:pic>
        <p:pic>
          <p:nvPicPr>
            <p:cNvPr id="35" name="Grafik 34" descr="Ein Bild, das Licht enthält.&#10;&#10;Automatisch generierte Beschreibung">
              <a:extLst>
                <a:ext uri="{FF2B5EF4-FFF2-40B4-BE49-F238E27FC236}">
                  <a16:creationId xmlns:a16="http://schemas.microsoft.com/office/drawing/2014/main" id="{9F159EBA-BBCE-4ECF-A2B3-4A6F5BE5FF62}"/>
                </a:ext>
              </a:extLst>
            </p:cNvPr>
            <p:cNvPicPr>
              <a:picLocks noChangeAspect="1"/>
            </p:cNvPicPr>
            <p:nvPr/>
          </p:nvPicPr>
          <p:blipFill>
            <a:blip r:embed="rId6">
              <a:alphaModFix/>
            </a:blip>
            <a:stretch>
              <a:fillRect/>
            </a:stretch>
          </p:blipFill>
          <p:spPr>
            <a:xfrm>
              <a:off x="2867799" y="1397989"/>
              <a:ext cx="5959429" cy="3352179"/>
            </a:xfrm>
            <a:prstGeom prst="rect">
              <a:avLst/>
            </a:prstGeom>
          </p:spPr>
        </p:pic>
        <p:sp>
          <p:nvSpPr>
            <p:cNvPr id="36" name="Rechteck 35">
              <a:extLst>
                <a:ext uri="{FF2B5EF4-FFF2-40B4-BE49-F238E27FC236}">
                  <a16:creationId xmlns:a16="http://schemas.microsoft.com/office/drawing/2014/main" id="{8D351A03-B687-4611-8E88-6C162E9150D7}"/>
                </a:ext>
              </a:extLst>
            </p:cNvPr>
            <p:cNvSpPr/>
            <p:nvPr/>
          </p:nvSpPr>
          <p:spPr bwMode="auto">
            <a:xfrm>
              <a:off x="3385645" y="1021911"/>
              <a:ext cx="4885490" cy="3683915"/>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pic>
          <p:nvPicPr>
            <p:cNvPr id="42" name="Grafik 41" descr="Ein Bild, das Licht, schließen enthält.&#10;&#10;Automatisch generierte Beschreibung">
              <a:extLst>
                <a:ext uri="{FF2B5EF4-FFF2-40B4-BE49-F238E27FC236}">
                  <a16:creationId xmlns:a16="http://schemas.microsoft.com/office/drawing/2014/main" id="{E97C17DB-2B7F-4A58-8C9C-5415954FFB98}"/>
                </a:ext>
              </a:extLst>
            </p:cNvPr>
            <p:cNvPicPr>
              <a:picLocks noChangeAspect="1"/>
            </p:cNvPicPr>
            <p:nvPr/>
          </p:nvPicPr>
          <p:blipFill>
            <a:blip r:embed="rId7">
              <a:alphaModFix/>
            </a:blip>
            <a:stretch>
              <a:fillRect/>
            </a:stretch>
          </p:blipFill>
          <p:spPr>
            <a:xfrm>
              <a:off x="2867799" y="1397989"/>
              <a:ext cx="5959429" cy="3352179"/>
            </a:xfrm>
            <a:prstGeom prst="rect">
              <a:avLst/>
            </a:prstGeom>
          </p:spPr>
        </p:pic>
        <p:grpSp>
          <p:nvGrpSpPr>
            <p:cNvPr id="51" name="Gruppieren 23">
              <a:extLst>
                <a:ext uri="{FF2B5EF4-FFF2-40B4-BE49-F238E27FC236}">
                  <a16:creationId xmlns:a16="http://schemas.microsoft.com/office/drawing/2014/main" id="{39FF7609-7316-4680-BAE1-561BE11AF91D}"/>
                </a:ext>
              </a:extLst>
            </p:cNvPr>
            <p:cNvGrpSpPr/>
            <p:nvPr/>
          </p:nvGrpSpPr>
          <p:grpSpPr bwMode="gray">
            <a:xfrm>
              <a:off x="6350329" y="1398438"/>
              <a:ext cx="2370247" cy="715518"/>
              <a:chOff x="6350329" y="1398438"/>
              <a:chExt cx="2370247" cy="715518"/>
            </a:xfrm>
          </p:grpSpPr>
          <p:sp>
            <p:nvSpPr>
              <p:cNvPr id="52" name="Detection of bolt loosening &amp; necking">
                <a:extLst>
                  <a:ext uri="{FF2B5EF4-FFF2-40B4-BE49-F238E27FC236}">
                    <a16:creationId xmlns:a16="http://schemas.microsoft.com/office/drawing/2014/main" id="{021DDCD8-39A5-443A-87DB-E476EEDFA48C}"/>
                  </a:ext>
                </a:extLst>
              </p:cNvPr>
              <p:cNvSpPr txBox="1"/>
              <p:nvPr/>
            </p:nvSpPr>
            <p:spPr bwMode="gray">
              <a:xfrm>
                <a:off x="6809151" y="1398438"/>
                <a:ext cx="1911425" cy="56563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a:solidFill>
                      <a:srgbClr val="000000"/>
                    </a:solidFill>
                    <a:latin typeface="Segoe UI" panose="020B0502040204020203" pitchFamily="34" charset="0"/>
                    <a:cs typeface="Segoe UI" panose="020B0502040204020203" pitchFamily="34" charset="0"/>
                  </a:rPr>
                  <a:t>Contención secundaria </a:t>
                </a:r>
                <a:r>
                  <a:rPr lang="es-ES" sz="1333" kern="0">
                    <a:solidFill>
                      <a:srgbClr val="000000"/>
                    </a:solidFill>
                    <a:latin typeface="Segoe UI" panose="020B0502040204020203" pitchFamily="34" charset="0"/>
                    <a:cs typeface="Segoe UI" panose="020B0502040204020203" pitchFamily="34" charset="0"/>
                  </a:rPr>
                  <a:t>evita que los fluidos salgan al medio ambiente </a:t>
                </a:r>
              </a:p>
            </p:txBody>
          </p:sp>
          <p:grpSp>
            <p:nvGrpSpPr>
              <p:cNvPr id="53" name="Gruppieren 22">
                <a:extLst>
                  <a:ext uri="{FF2B5EF4-FFF2-40B4-BE49-F238E27FC236}">
                    <a16:creationId xmlns:a16="http://schemas.microsoft.com/office/drawing/2014/main" id="{F10293B9-507E-48C2-A4B7-E1807C7A2FA0}"/>
                  </a:ext>
                </a:extLst>
              </p:cNvPr>
              <p:cNvGrpSpPr/>
              <p:nvPr/>
            </p:nvGrpSpPr>
            <p:grpSpPr bwMode="gray">
              <a:xfrm>
                <a:off x="6350329" y="1506708"/>
                <a:ext cx="390653" cy="607248"/>
                <a:chOff x="6350329" y="1506708"/>
                <a:chExt cx="390653" cy="607248"/>
              </a:xfrm>
              <a:effectLst>
                <a:glow rad="292100">
                  <a:schemeClr val="bg1">
                    <a:alpha val="52000"/>
                  </a:schemeClr>
                </a:glow>
              </a:effectLst>
            </p:grpSpPr>
            <p:sp>
              <p:nvSpPr>
                <p:cNvPr id="54" name="Oval">
                  <a:extLst>
                    <a:ext uri="{FF2B5EF4-FFF2-40B4-BE49-F238E27FC236}">
                      <a16:creationId xmlns:a16="http://schemas.microsoft.com/office/drawing/2014/main" id="{E5266A7C-CA2F-4EB9-AD6A-3FBD878891A7}"/>
                    </a:ext>
                  </a:extLst>
                </p:cNvPr>
                <p:cNvSpPr/>
                <p:nvPr/>
              </p:nvSpPr>
              <p:spPr bwMode="gray">
                <a:xfrm rot="16141392">
                  <a:off x="6350816" y="1862444"/>
                  <a:ext cx="251025" cy="252000"/>
                </a:xfrm>
                <a:prstGeom prst="ellipse">
                  <a:avLst/>
                </a:prstGeom>
                <a:noFill/>
                <a:ln w="25400" cap="flat">
                  <a:solidFill>
                    <a:schemeClr val="tx2"/>
                  </a:solidFill>
                  <a:prstDash val="solid"/>
                  <a:round/>
                </a:ln>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55" name="Line">
                  <a:extLst>
                    <a:ext uri="{FF2B5EF4-FFF2-40B4-BE49-F238E27FC236}">
                      <a16:creationId xmlns:a16="http://schemas.microsoft.com/office/drawing/2014/main" id="{9BF9209E-3534-4090-9E14-BADC4370B3EC}"/>
                    </a:ext>
                  </a:extLst>
                </p:cNvPr>
                <p:cNvSpPr/>
                <p:nvPr/>
              </p:nvSpPr>
              <p:spPr bwMode="gray">
                <a:xfrm flipH="1" flipV="1">
                  <a:off x="6478702" y="1506708"/>
                  <a:ext cx="0" cy="344569"/>
                </a:xfrm>
                <a:prstGeom prst="line">
                  <a:avLst/>
                </a:prstGeom>
                <a:noFill/>
                <a:ln w="25400" cap="flat">
                  <a:solidFill>
                    <a:schemeClr val="tx2"/>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56" name="Line">
                  <a:extLst>
                    <a:ext uri="{FF2B5EF4-FFF2-40B4-BE49-F238E27FC236}">
                      <a16:creationId xmlns:a16="http://schemas.microsoft.com/office/drawing/2014/main" id="{A60CF3A7-982F-437A-83AE-86FAF353FFEB}"/>
                    </a:ext>
                  </a:extLst>
                </p:cNvPr>
                <p:cNvSpPr/>
                <p:nvPr/>
              </p:nvSpPr>
              <p:spPr bwMode="gray">
                <a:xfrm>
                  <a:off x="6467918" y="1516232"/>
                  <a:ext cx="273064" cy="0"/>
                </a:xfrm>
                <a:prstGeom prst="line">
                  <a:avLst/>
                </a:prstGeom>
                <a:noFill/>
                <a:ln w="25400" cap="flat">
                  <a:solidFill>
                    <a:schemeClr val="tx2"/>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grpSp>
        </p:grpSp>
        <p:grpSp>
          <p:nvGrpSpPr>
            <p:cNvPr id="57" name="Gruppieren 24">
              <a:extLst>
                <a:ext uri="{FF2B5EF4-FFF2-40B4-BE49-F238E27FC236}">
                  <a16:creationId xmlns:a16="http://schemas.microsoft.com/office/drawing/2014/main" id="{63FCB822-81B7-4B60-9CA6-983C3A5126E3}"/>
                </a:ext>
              </a:extLst>
            </p:cNvPr>
            <p:cNvGrpSpPr/>
            <p:nvPr/>
          </p:nvGrpSpPr>
          <p:grpSpPr bwMode="gray">
            <a:xfrm>
              <a:off x="6485845" y="3655302"/>
              <a:ext cx="2439854" cy="420262"/>
              <a:chOff x="6485845" y="3655302"/>
              <a:chExt cx="2439854" cy="420262"/>
            </a:xfrm>
          </p:grpSpPr>
          <p:grpSp>
            <p:nvGrpSpPr>
              <p:cNvPr id="58" name="Group">
                <a:extLst>
                  <a:ext uri="{FF2B5EF4-FFF2-40B4-BE49-F238E27FC236}">
                    <a16:creationId xmlns:a16="http://schemas.microsoft.com/office/drawing/2014/main" id="{5FB79F5C-6216-43EA-BE06-CF80478CF2F1}"/>
                  </a:ext>
                </a:extLst>
              </p:cNvPr>
              <p:cNvGrpSpPr/>
              <p:nvPr/>
            </p:nvGrpSpPr>
            <p:grpSpPr bwMode="gray">
              <a:xfrm>
                <a:off x="6485845" y="3655302"/>
                <a:ext cx="641203" cy="252000"/>
                <a:chOff x="143113" y="0"/>
                <a:chExt cx="562288" cy="251999"/>
              </a:xfrm>
              <a:effectLst>
                <a:glow rad="190500">
                  <a:schemeClr val="bg1">
                    <a:alpha val="38000"/>
                  </a:schemeClr>
                </a:glow>
              </a:effectLst>
            </p:grpSpPr>
            <p:sp>
              <p:nvSpPr>
                <p:cNvPr id="60" name="Oval">
                  <a:extLst>
                    <a:ext uri="{FF2B5EF4-FFF2-40B4-BE49-F238E27FC236}">
                      <a16:creationId xmlns:a16="http://schemas.microsoft.com/office/drawing/2014/main" id="{C3D5A32A-BFA1-408E-BDA2-35DC90EB757B}"/>
                    </a:ext>
                  </a:extLst>
                </p:cNvPr>
                <p:cNvSpPr/>
                <p:nvPr/>
              </p:nvSpPr>
              <p:spPr bwMode="gray">
                <a:xfrm>
                  <a:off x="143113" y="0"/>
                  <a:ext cx="220985" cy="251999"/>
                </a:xfrm>
                <a:prstGeom prst="ellipse">
                  <a:avLst/>
                </a:prstGeom>
                <a:noFill/>
                <a:ln w="25400" cap="flat">
                  <a:solidFill>
                    <a:srgbClr val="E10413"/>
                  </a:solidFill>
                  <a:prstDash val="solid"/>
                  <a:round/>
                </a:ln>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61" name="Line">
                  <a:extLst>
                    <a:ext uri="{FF2B5EF4-FFF2-40B4-BE49-F238E27FC236}">
                      <a16:creationId xmlns:a16="http://schemas.microsoft.com/office/drawing/2014/main" id="{D0201C91-449B-43D1-9EA3-35370D1F2A04}"/>
                    </a:ext>
                  </a:extLst>
                </p:cNvPr>
                <p:cNvSpPr/>
                <p:nvPr/>
              </p:nvSpPr>
              <p:spPr bwMode="gray">
                <a:xfrm>
                  <a:off x="364099" y="133352"/>
                  <a:ext cx="341302" cy="0"/>
                </a:xfrm>
                <a:prstGeom prst="line">
                  <a:avLst/>
                </a:prstGeom>
                <a:noFill/>
                <a:ln w="25400" cap="flat">
                  <a:solidFill>
                    <a:srgbClr val="E10413"/>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grpSp>
          <p:sp>
            <p:nvSpPr>
              <p:cNvPr id="59" name="Detection of seal degradation">
                <a:extLst>
                  <a:ext uri="{FF2B5EF4-FFF2-40B4-BE49-F238E27FC236}">
                    <a16:creationId xmlns:a16="http://schemas.microsoft.com/office/drawing/2014/main" id="{5D58A4E0-A619-4875-B76B-A22EFE7ECC9F}"/>
                  </a:ext>
                </a:extLst>
              </p:cNvPr>
              <p:cNvSpPr txBox="1"/>
              <p:nvPr/>
            </p:nvSpPr>
            <p:spPr bwMode="gray">
              <a:xfrm>
                <a:off x="7126289" y="3671467"/>
                <a:ext cx="1799410" cy="40409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dirty="0">
                    <a:solidFill>
                      <a:srgbClr val="000000"/>
                    </a:solidFill>
                    <a:latin typeface="Segoe UI"/>
                    <a:cs typeface="Segoe UI"/>
                  </a:rPr>
                  <a:t>Sensor, nanotubo de carbono</a:t>
                </a:r>
                <a:r>
                  <a:rPr lang="es-ES" sz="1333" kern="0" dirty="0">
                    <a:solidFill>
                      <a:srgbClr val="000000"/>
                    </a:solidFill>
                    <a:latin typeface="Segoe UI"/>
                    <a:cs typeface="Segoe UI"/>
                  </a:rPr>
                  <a:t> detecta las fugas</a:t>
                </a:r>
              </a:p>
            </p:txBody>
          </p:sp>
        </p:grpSp>
        <p:pic>
          <p:nvPicPr>
            <p:cNvPr id="63" name="Picture 26" descr="A picture containing indoor, engine&#10;&#10;Description automatically generated">
              <a:extLst>
                <a:ext uri="{FF2B5EF4-FFF2-40B4-BE49-F238E27FC236}">
                  <a16:creationId xmlns:a16="http://schemas.microsoft.com/office/drawing/2014/main" id="{B3ABC0A8-CBF6-4108-87CB-53DF9B1A0C80}"/>
                </a:ext>
              </a:extLst>
            </p:cNvPr>
            <p:cNvPicPr>
              <a:picLocks/>
            </p:cNvPicPr>
            <p:nvPr/>
          </p:nvPicPr>
          <p:blipFill rotWithShape="1">
            <a:blip r:embed="rId8" cstate="print">
              <a:extLst>
                <a:ext uri="{28A0092B-C50C-407E-A947-70E740481C1C}">
                  <a14:useLocalDpi xmlns:a14="http://schemas.microsoft.com/office/drawing/2010/main"/>
                </a:ext>
              </a:extLst>
            </a:blip>
            <a:srcRect/>
            <a:stretch/>
          </p:blipFill>
          <p:spPr bwMode="gray">
            <a:xfrm>
              <a:off x="7299613" y="2770632"/>
              <a:ext cx="463787" cy="463787"/>
            </a:xfrm>
            <a:prstGeom prst="ellipse">
              <a:avLst/>
            </a:prstGeom>
            <a:ln w="19050">
              <a:solidFill>
                <a:srgbClr val="E0000F"/>
              </a:solidFill>
            </a:ln>
          </p:spPr>
        </p:pic>
        <p:pic>
          <p:nvPicPr>
            <p:cNvPr id="64" name="Picture 6">
              <a:extLst>
                <a:ext uri="{FF2B5EF4-FFF2-40B4-BE49-F238E27FC236}">
                  <a16:creationId xmlns:a16="http://schemas.microsoft.com/office/drawing/2014/main" id="{A91AD0B8-8EC5-4201-AC67-36323AE0EA97}"/>
                </a:ext>
              </a:extLst>
            </p:cNvPr>
            <p:cNvPicPr>
              <a:picLocks/>
            </p:cNvPicPr>
            <p:nvPr/>
          </p:nvPicPr>
          <p:blipFill rotWithShape="1">
            <a:blip r:embed="rId9" cstate="print">
              <a:extLst>
                <a:ext uri="{28A0092B-C50C-407E-A947-70E740481C1C}">
                  <a14:useLocalDpi xmlns:a14="http://schemas.microsoft.com/office/drawing/2010/main"/>
                </a:ext>
              </a:extLst>
            </a:blip>
            <a:srcRect/>
            <a:stretch/>
          </p:blipFill>
          <p:spPr bwMode="gray">
            <a:xfrm>
              <a:off x="7299613" y="2079208"/>
              <a:ext cx="463787" cy="463787"/>
            </a:xfrm>
            <a:prstGeom prst="ellipse">
              <a:avLst/>
            </a:prstGeom>
            <a:ln w="19050">
              <a:solidFill>
                <a:srgbClr val="E0000F"/>
              </a:solidFill>
            </a:ln>
          </p:spPr>
        </p:pic>
        <p:sp>
          <p:nvSpPr>
            <p:cNvPr id="65" name="Line">
              <a:extLst>
                <a:ext uri="{FF2B5EF4-FFF2-40B4-BE49-F238E27FC236}">
                  <a16:creationId xmlns:a16="http://schemas.microsoft.com/office/drawing/2014/main" id="{AD698C66-577E-406E-9F89-566D1C9DE123}"/>
                </a:ext>
              </a:extLst>
            </p:cNvPr>
            <p:cNvSpPr/>
            <p:nvPr/>
          </p:nvSpPr>
          <p:spPr bwMode="gray">
            <a:xfrm flipH="1" flipV="1">
              <a:off x="7122630" y="1952478"/>
              <a:ext cx="0" cy="359900"/>
            </a:xfrm>
            <a:prstGeom prst="line">
              <a:avLst/>
            </a:prstGeom>
            <a:noFill/>
            <a:ln w="25400" cap="flat">
              <a:solidFill>
                <a:srgbClr val="E10413"/>
              </a:solidFill>
              <a:prstDash val="sysDot"/>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66" name="Line">
              <a:extLst>
                <a:ext uri="{FF2B5EF4-FFF2-40B4-BE49-F238E27FC236}">
                  <a16:creationId xmlns:a16="http://schemas.microsoft.com/office/drawing/2014/main" id="{2E969ED5-8A45-4FF6-8B0F-E14A16BD22DE}"/>
                </a:ext>
              </a:extLst>
            </p:cNvPr>
            <p:cNvSpPr/>
            <p:nvPr/>
          </p:nvSpPr>
          <p:spPr bwMode="gray">
            <a:xfrm>
              <a:off x="7149465" y="2301275"/>
              <a:ext cx="137160" cy="0"/>
            </a:xfrm>
            <a:prstGeom prst="line">
              <a:avLst/>
            </a:prstGeom>
            <a:noFill/>
            <a:ln w="25400" cap="flat">
              <a:solidFill>
                <a:srgbClr val="E10413"/>
              </a:solidFill>
              <a:prstDash val="sysDot"/>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67" name="Line">
              <a:extLst>
                <a:ext uri="{FF2B5EF4-FFF2-40B4-BE49-F238E27FC236}">
                  <a16:creationId xmlns:a16="http://schemas.microsoft.com/office/drawing/2014/main" id="{4F357770-5280-4A57-A2A1-ABF293B326F9}"/>
                </a:ext>
              </a:extLst>
            </p:cNvPr>
            <p:cNvSpPr/>
            <p:nvPr/>
          </p:nvSpPr>
          <p:spPr bwMode="gray">
            <a:xfrm flipH="1" flipV="1">
              <a:off x="7122630" y="1977097"/>
              <a:ext cx="0" cy="1032022"/>
            </a:xfrm>
            <a:prstGeom prst="line">
              <a:avLst/>
            </a:prstGeom>
            <a:noFill/>
            <a:ln w="25400" cap="flat">
              <a:solidFill>
                <a:srgbClr val="E10413"/>
              </a:solidFill>
              <a:prstDash val="sysDot"/>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68" name="Line">
              <a:extLst>
                <a:ext uri="{FF2B5EF4-FFF2-40B4-BE49-F238E27FC236}">
                  <a16:creationId xmlns:a16="http://schemas.microsoft.com/office/drawing/2014/main" id="{857E9C1C-DBAA-41D1-9532-CD291F9F1B72}"/>
                </a:ext>
              </a:extLst>
            </p:cNvPr>
            <p:cNvSpPr/>
            <p:nvPr/>
          </p:nvSpPr>
          <p:spPr bwMode="gray">
            <a:xfrm>
              <a:off x="7149465" y="3002525"/>
              <a:ext cx="137160" cy="0"/>
            </a:xfrm>
            <a:prstGeom prst="line">
              <a:avLst/>
            </a:prstGeom>
            <a:noFill/>
            <a:ln w="25400" cap="flat">
              <a:solidFill>
                <a:srgbClr val="E10413"/>
              </a:solidFill>
              <a:prstDash val="sysDot"/>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69" name="Detection of bolt loosening &amp; necking">
              <a:extLst>
                <a:ext uri="{FF2B5EF4-FFF2-40B4-BE49-F238E27FC236}">
                  <a16:creationId xmlns:a16="http://schemas.microsoft.com/office/drawing/2014/main" id="{0DD7F8C6-1F75-41FB-B6A3-F99F2F672F9C}"/>
                </a:ext>
              </a:extLst>
            </p:cNvPr>
            <p:cNvSpPr txBox="1"/>
            <p:nvPr/>
          </p:nvSpPr>
          <p:spPr bwMode="gray">
            <a:xfrm>
              <a:off x="8004110" y="2110068"/>
              <a:ext cx="817367" cy="40409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a:solidFill>
                    <a:srgbClr val="000000"/>
                  </a:solidFill>
                  <a:latin typeface="Segoe UI"/>
                  <a:cs typeface="Segoe UI"/>
                </a:rPr>
                <a:t>Silicona</a:t>
              </a:r>
              <a:br>
                <a:rPr lang="es-ES" sz="1333" b="1" kern="0">
                  <a:solidFill>
                    <a:srgbClr val="000000"/>
                  </a:solidFill>
                  <a:latin typeface="Segoe UI" panose="020B0502040204020203" pitchFamily="34" charset="0"/>
                  <a:cs typeface="Segoe UI" panose="020B0502040204020203" pitchFamily="34" charset="0"/>
                </a:rPr>
              </a:br>
              <a:r>
                <a:rPr lang="es-ES" sz="1333" kern="0" err="1">
                  <a:solidFill>
                    <a:srgbClr val="000000"/>
                  </a:solidFill>
                  <a:latin typeface="Segoe UI"/>
                  <a:cs typeface="Segoe UI"/>
                </a:rPr>
                <a:t>extraflexible</a:t>
              </a:r>
              <a:endParaRPr lang="es-ES" sz="1333" kern="0">
                <a:solidFill>
                  <a:srgbClr val="000000"/>
                </a:solidFill>
                <a:latin typeface="Segoe UI"/>
                <a:cs typeface="Segoe UI"/>
              </a:endParaRPr>
            </a:p>
          </p:txBody>
        </p:sp>
        <p:sp>
          <p:nvSpPr>
            <p:cNvPr id="70" name="Detection of bolt loosening &amp; necking">
              <a:extLst>
                <a:ext uri="{FF2B5EF4-FFF2-40B4-BE49-F238E27FC236}">
                  <a16:creationId xmlns:a16="http://schemas.microsoft.com/office/drawing/2014/main" id="{41395165-6056-470F-A61B-07812A616D5F}"/>
                </a:ext>
              </a:extLst>
            </p:cNvPr>
            <p:cNvSpPr txBox="1"/>
            <p:nvPr/>
          </p:nvSpPr>
          <p:spPr bwMode="gray">
            <a:xfrm>
              <a:off x="7813610" y="2800452"/>
              <a:ext cx="919231" cy="40409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a:solidFill>
                    <a:srgbClr val="000000"/>
                  </a:solidFill>
                  <a:latin typeface="Segoe UI" panose="020B0502040204020203" pitchFamily="34" charset="0"/>
                  <a:cs typeface="Segoe UI" panose="020B0502040204020203" pitchFamily="34" charset="0"/>
                </a:rPr>
                <a:t>Composite</a:t>
              </a:r>
              <a:br>
                <a:rPr lang="es-ES" sz="1333" b="1" kern="0">
                  <a:solidFill>
                    <a:srgbClr val="000000"/>
                  </a:solidFill>
                  <a:latin typeface="Segoe UI" panose="020B0502040204020203" pitchFamily="34" charset="0"/>
                  <a:cs typeface="Segoe UI" panose="020B0502040204020203" pitchFamily="34" charset="0"/>
                </a:rPr>
              </a:br>
              <a:r>
                <a:rPr lang="es-ES" sz="1333" kern="0">
                  <a:solidFill>
                    <a:srgbClr val="000000"/>
                  </a:solidFill>
                  <a:latin typeface="Segoe UI" panose="020B0502040204020203" pitchFamily="34" charset="0"/>
                  <a:cs typeface="Segoe UI" panose="020B0502040204020203" pitchFamily="34" charset="0"/>
                </a:rPr>
                <a:t>extrafuerte</a:t>
              </a:r>
            </a:p>
          </p:txBody>
        </p:sp>
      </p:grpSp>
      <p:sp>
        <p:nvSpPr>
          <p:cNvPr id="2" name="Titel 1">
            <a:extLst>
              <a:ext uri="{FF2B5EF4-FFF2-40B4-BE49-F238E27FC236}">
                <a16:creationId xmlns:a16="http://schemas.microsoft.com/office/drawing/2014/main" id="{2965D0AD-0A96-4BCC-A586-5ED25AD422A2}"/>
              </a:ext>
            </a:extLst>
          </p:cNvPr>
          <p:cNvSpPr>
            <a:spLocks noGrp="1"/>
          </p:cNvSpPr>
          <p:nvPr>
            <p:ph type="title"/>
          </p:nvPr>
        </p:nvSpPr>
        <p:spPr bwMode="gray"/>
        <p:txBody>
          <a:bodyPr vert="horz">
            <a:noAutofit/>
          </a:bodyPr>
          <a:lstStyle/>
          <a:p>
            <a:r>
              <a:rPr lang="es-ES"/>
              <a:t>      </a:t>
            </a:r>
            <a:r>
              <a:rPr lang="es-ES" sz="3200"/>
              <a:t>Recopilación de Datos</a:t>
            </a:r>
            <a:br>
              <a:rPr lang="es-ES"/>
            </a:br>
            <a:endParaRPr lang="es-ES"/>
          </a:p>
        </p:txBody>
      </p:sp>
      <p:sp>
        <p:nvSpPr>
          <p:cNvPr id="6" name="Rounded Rectangle">
            <a:extLst>
              <a:ext uri="{FF2B5EF4-FFF2-40B4-BE49-F238E27FC236}">
                <a16:creationId xmlns:a16="http://schemas.microsoft.com/office/drawing/2014/main" id="{FBFAD6B2-E8A7-4901-B2B8-2B9787F3EDAF}"/>
              </a:ext>
            </a:extLst>
          </p:cNvPr>
          <p:cNvSpPr/>
          <p:nvPr/>
        </p:nvSpPr>
        <p:spPr bwMode="gray">
          <a:xfrm>
            <a:off x="618653" y="1696224"/>
            <a:ext cx="4307403" cy="4663729"/>
          </a:xfrm>
          <a:prstGeom prst="roundRect">
            <a:avLst>
              <a:gd name="adj" fmla="val 4731"/>
            </a:avLst>
          </a:prstGeom>
          <a:solidFill>
            <a:schemeClr val="bg1">
              <a:lumMod val="95000"/>
            </a:schemeClr>
          </a:solidFill>
          <a:ln w="12700" cap="flat">
            <a:noFill/>
            <a:miter lim="400000"/>
          </a:ln>
          <a:effectLst/>
        </p:spPr>
        <p:txBody>
          <a:bodyPr wrap="square" lIns="62399" tIns="62399" rIns="62399" bIns="62399" numCol="1" anchor="t">
            <a:noAutofit/>
          </a:bodyPr>
          <a:lstStyle/>
          <a:p>
            <a:pPr defTabSz="1219140" hangingPunct="0">
              <a:lnSpc>
                <a:spcPct val="80000"/>
              </a:lnSpc>
              <a:defRPr sz="1400" cap="all">
                <a:latin typeface="Industry W00 Ultra"/>
                <a:ea typeface="Industry W00 Ultra"/>
                <a:cs typeface="Industry W00 Ultra"/>
                <a:sym typeface="Industry W00 Ultra"/>
              </a:defRPr>
            </a:pPr>
            <a:r>
              <a:rPr lang="es-ES" sz="1867" kern="0" cap="all" dirty="0">
                <a:solidFill>
                  <a:srgbClr val="E1000F"/>
                </a:solidFill>
                <a:latin typeface="Segoe UI" panose="020B0502040204020203" pitchFamily="34" charset="0"/>
                <a:cs typeface="Segoe UI" panose="020B0502040204020203" pitchFamily="34" charset="0"/>
                <a:sym typeface="Industry W00 Ultra"/>
              </a:rPr>
              <a:t>Control CONTINUO </a:t>
            </a:r>
          </a:p>
          <a:p>
            <a:pPr defTabSz="1219140" hangingPunct="0">
              <a:lnSpc>
                <a:spcPct val="80000"/>
              </a:lnSpc>
              <a:defRPr sz="1400" cap="all">
                <a:latin typeface="Industry W00 Ultra"/>
                <a:ea typeface="Industry W00 Ultra"/>
                <a:cs typeface="Industry W00 Ultra"/>
                <a:sym typeface="Industry W00 Ultra"/>
              </a:defRPr>
            </a:pPr>
            <a:r>
              <a:rPr lang="es-ES" sz="1867" kern="0" cap="all" dirty="0">
                <a:solidFill>
                  <a:srgbClr val="E1000F"/>
                </a:solidFill>
                <a:latin typeface="Segoe UI" panose="020B0502040204020203" pitchFamily="34" charset="0"/>
                <a:cs typeface="Segoe UI" panose="020B0502040204020203" pitchFamily="34" charset="0"/>
                <a:sym typeface="Industry W00 Ultra"/>
              </a:rPr>
              <a:t>de las bridas más importantes </a:t>
            </a:r>
          </a:p>
          <a:p>
            <a:pPr defTabSz="1219140" hangingPunct="0">
              <a:lnSpc>
                <a:spcPct val="104999"/>
              </a:lnSpc>
              <a:defRPr sz="1000">
                <a:latin typeface="Industry W00 Demi"/>
                <a:ea typeface="Industry W00 Demi"/>
                <a:cs typeface="Industry W00 Demi"/>
                <a:sym typeface="Industry W00 Demi"/>
              </a:defRPr>
            </a:pPr>
            <a:endParaRPr lang="en-US" sz="800" kern="0" dirty="0">
              <a:solidFill>
                <a:srgbClr val="000000"/>
              </a:solidFill>
              <a:latin typeface="Segoe UI" panose="020B0502040204020203" pitchFamily="34" charset="0"/>
              <a:cs typeface="Segoe UI" panose="020B0502040204020203" pitchFamily="34" charset="0"/>
              <a:sym typeface="Industry W00 Demi"/>
            </a:endParaRP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INNOVADOR</a:t>
            </a:r>
            <a:r>
              <a:rPr lang="es-ES" sz="1467" kern="0" dirty="0">
                <a:solidFill>
                  <a:srgbClr val="000000"/>
                </a:solidFill>
                <a:latin typeface="Segoe UI" panose="020B0502040204020203" pitchFamily="34" charset="0"/>
                <a:cs typeface="Segoe UI" panose="020B0502040204020203" pitchFamily="34" charset="0"/>
                <a:sym typeface="Industry W00 Ultra"/>
              </a:rPr>
              <a:t>: Novedoso nanotubo de tecnología de carbono patentada, reacciona en &lt; 1 min</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NO INTRUSIVO: </a:t>
            </a:r>
            <a:r>
              <a:rPr lang="es-ES" sz="1467" kern="0" dirty="0">
                <a:solidFill>
                  <a:srgbClr val="000000"/>
                </a:solidFill>
                <a:latin typeface="Segoe UI" panose="020B0502040204020203" pitchFamily="34" charset="0"/>
                <a:cs typeface="Segoe UI" panose="020B0502040204020203" pitchFamily="34" charset="0"/>
                <a:sym typeface="Industry W00 Ultra"/>
              </a:rPr>
              <a:t>Retro adaptación, no se necesita apagar </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kern="0" dirty="0">
                <a:solidFill>
                  <a:srgbClr val="000000"/>
                </a:solidFill>
                <a:latin typeface="Segoe UI" panose="020B0502040204020203" pitchFamily="34" charset="0"/>
                <a:cs typeface="Segoe UI" panose="020B0502040204020203" pitchFamily="34" charset="0"/>
                <a:sym typeface="Industry W00 Ultra"/>
              </a:rPr>
              <a:t>La contención secundaria puede ralentizar la fuga y da tiempo a planificar la reparación</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FUNCIONAMIENTO CONSTANTE: </a:t>
            </a:r>
            <a:r>
              <a:rPr lang="es-ES" sz="1467" kern="0" dirty="0">
                <a:solidFill>
                  <a:srgbClr val="000000"/>
                </a:solidFill>
                <a:latin typeface="Segoe UI" panose="020B0502040204020203" pitchFamily="34" charset="0"/>
                <a:cs typeface="Segoe UI" panose="020B0502040204020203" pitchFamily="34" charset="0"/>
                <a:sym typeface="Industry W00 Ultra"/>
              </a:rPr>
              <a:t>produce información continua las 24 h del día los 365 días del año</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FIABLE</a:t>
            </a:r>
            <a:r>
              <a:rPr lang="es-ES" sz="1467" kern="0" dirty="0">
                <a:solidFill>
                  <a:srgbClr val="000000"/>
                </a:solidFill>
                <a:latin typeface="Segoe UI" panose="020B0502040204020203" pitchFamily="34" charset="0"/>
                <a:cs typeface="Segoe UI" panose="020B0502040204020203" pitchFamily="34" charset="0"/>
                <a:sym typeface="Industry W00 Ultra"/>
              </a:rPr>
              <a:t>: Generación de señal robusta y consistente</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PERSONALIZABLE:</a:t>
            </a:r>
            <a:r>
              <a:rPr lang="es-ES" sz="1467" kern="0" dirty="0">
                <a:solidFill>
                  <a:srgbClr val="000000"/>
                </a:solidFill>
                <a:latin typeface="Segoe UI" panose="020B0502040204020203" pitchFamily="34" charset="0"/>
                <a:cs typeface="Segoe UI" panose="020B0502040204020203" pitchFamily="34" charset="0"/>
                <a:sym typeface="Industry W00 Ultra"/>
              </a:rPr>
              <a:t> Opciones de contención secundarias, desde muy flexible a muy fuerte, en base a los requisitos específicos</a:t>
            </a:r>
          </a:p>
          <a:p>
            <a:pPr marL="303946" indent="-303946"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endParaRPr lang="en-US" sz="1467" kern="0" dirty="0">
              <a:solidFill>
                <a:srgbClr val="000000"/>
              </a:solidFill>
              <a:highlight>
                <a:srgbClr val="FFFF00"/>
              </a:highlight>
              <a:latin typeface="Segoe UI" panose="020B0502040204020203" pitchFamily="34" charset="0"/>
              <a:cs typeface="Segoe UI" panose="020B0502040204020203" pitchFamily="34" charset="0"/>
              <a:sym typeface="Industry W00 Ultra"/>
            </a:endParaRPr>
          </a:p>
        </p:txBody>
      </p:sp>
      <p:sp>
        <p:nvSpPr>
          <p:cNvPr id="43" name="Untertitel 2">
            <a:extLst>
              <a:ext uri="{FF2B5EF4-FFF2-40B4-BE49-F238E27FC236}">
                <a16:creationId xmlns:a16="http://schemas.microsoft.com/office/drawing/2014/main" id="{06C4D438-774F-4189-AACB-AC7B687A8073}"/>
              </a:ext>
            </a:extLst>
          </p:cNvPr>
          <p:cNvSpPr>
            <a:spLocks noGrp="1"/>
          </p:cNvSpPr>
          <p:nvPr>
            <p:ph type="subTitle" idx="14"/>
          </p:nvPr>
        </p:nvSpPr>
        <p:spPr bwMode="gray">
          <a:xfrm>
            <a:off x="590550" y="1100601"/>
            <a:ext cx="11000316" cy="379508"/>
          </a:xfrm>
        </p:spPr>
        <p:txBody>
          <a:bodyPr/>
          <a:lstStyle/>
          <a:p>
            <a:r>
              <a:rPr lang="es-ES" sz="2133"/>
              <a:t>¿Cómo se recopilan los datos?</a:t>
            </a:r>
          </a:p>
          <a:p>
            <a:endParaRPr lang="en-US"/>
          </a:p>
        </p:txBody>
      </p:sp>
    </p:spTree>
    <p:extLst>
      <p:ext uri="{BB962C8B-B14F-4D97-AF65-F5344CB8AC3E}">
        <p14:creationId xmlns:p14="http://schemas.microsoft.com/office/powerpoint/2010/main" val="755784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F51FE8A4-5D30-4C27-B45C-F26872D2A78B}"/>
              </a:ext>
            </a:extLst>
          </p:cNvPr>
          <p:cNvPicPr>
            <a:picLocks noChangeAspect="1"/>
          </p:cNvPicPr>
          <p:nvPr/>
        </p:nvPicPr>
        <p:blipFill>
          <a:blip r:embed="rId4"/>
          <a:stretch>
            <a:fillRect/>
          </a:stretch>
        </p:blipFill>
        <p:spPr bwMode="gray">
          <a:xfrm>
            <a:off x="5426169" y="963074"/>
            <a:ext cx="6087704" cy="5894927"/>
          </a:xfrm>
          <a:prstGeom prst="rect">
            <a:avLst/>
          </a:prstGeom>
        </p:spPr>
      </p:pic>
      <p:graphicFrame>
        <p:nvGraphicFramePr>
          <p:cNvPr id="17" name="Objekt 16" hidden="1">
            <a:extLst>
              <a:ext uri="{FF2B5EF4-FFF2-40B4-BE49-F238E27FC236}">
                <a16:creationId xmlns:a16="http://schemas.microsoft.com/office/drawing/2014/main" id="{0E305986-C7D6-408F-92B8-01C6DB686E3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498" imgH="499" progId="TCLayout.ActiveDocument.1">
                  <p:embed/>
                </p:oleObj>
              </mc:Choice>
              <mc:Fallback>
                <p:oleObj name="think-cell Folie" r:id="rId5" imgW="498" imgH="499" progId="TCLayout.ActiveDocument.1">
                  <p:embed/>
                  <p:pic>
                    <p:nvPicPr>
                      <p:cNvPr id="17" name="Objekt 16" hidden="1">
                        <a:extLst>
                          <a:ext uri="{FF2B5EF4-FFF2-40B4-BE49-F238E27FC236}">
                            <a16:creationId xmlns:a16="http://schemas.microsoft.com/office/drawing/2014/main" id="{0E305986-C7D6-408F-92B8-01C6DB686E3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872FB1-EC0E-4352-BCB9-A9EF337B6693}"/>
              </a:ext>
            </a:extLst>
          </p:cNvPr>
          <p:cNvSpPr>
            <a:spLocks noGrp="1"/>
          </p:cNvSpPr>
          <p:nvPr>
            <p:ph type="title"/>
          </p:nvPr>
        </p:nvSpPr>
        <p:spPr bwMode="gray"/>
        <p:txBody>
          <a:bodyPr vert="horz"/>
          <a:lstStyle/>
          <a:p>
            <a:r>
              <a:rPr lang="es-ES"/>
              <a:t>      +       </a:t>
            </a:r>
            <a:r>
              <a:rPr lang="es-ES" sz="3200"/>
              <a:t>Transmisión de datos y Análisis</a:t>
            </a:r>
            <a:br>
              <a:rPr lang="es-ES" sz="3200"/>
            </a:br>
            <a:endParaRPr lang="es-ES" sz="3200"/>
          </a:p>
        </p:txBody>
      </p:sp>
      <p:sp>
        <p:nvSpPr>
          <p:cNvPr id="3" name="Untertitel 2">
            <a:extLst>
              <a:ext uri="{FF2B5EF4-FFF2-40B4-BE49-F238E27FC236}">
                <a16:creationId xmlns:a16="http://schemas.microsoft.com/office/drawing/2014/main" id="{76395E5D-5D72-469E-8E9F-BDE01D2485AA}"/>
              </a:ext>
            </a:extLst>
          </p:cNvPr>
          <p:cNvSpPr>
            <a:spLocks noGrp="1"/>
          </p:cNvSpPr>
          <p:nvPr>
            <p:ph type="subTitle" idx="14"/>
          </p:nvPr>
        </p:nvSpPr>
        <p:spPr bwMode="gray"/>
        <p:txBody>
          <a:bodyPr/>
          <a:lstStyle/>
          <a:p>
            <a:r>
              <a:rPr lang="es-ES" sz="2133"/>
              <a:t>¿Cómo se transmiten y analizan los datos?</a:t>
            </a:r>
          </a:p>
          <a:p>
            <a:endParaRPr lang="en-US"/>
          </a:p>
        </p:txBody>
      </p:sp>
      <p:sp>
        <p:nvSpPr>
          <p:cNvPr id="5" name="Rounded Rectangle">
            <a:extLst>
              <a:ext uri="{FF2B5EF4-FFF2-40B4-BE49-F238E27FC236}">
                <a16:creationId xmlns:a16="http://schemas.microsoft.com/office/drawing/2014/main" id="{93BB75CB-CADF-4623-A408-C08A71EE030A}"/>
              </a:ext>
            </a:extLst>
          </p:cNvPr>
          <p:cNvSpPr/>
          <p:nvPr/>
        </p:nvSpPr>
        <p:spPr bwMode="gray">
          <a:xfrm>
            <a:off x="618653" y="1638944"/>
            <a:ext cx="4459908" cy="4783965"/>
          </a:xfrm>
          <a:prstGeom prst="roundRect">
            <a:avLst>
              <a:gd name="adj" fmla="val 4731"/>
            </a:avLst>
          </a:prstGeom>
          <a:solidFill>
            <a:schemeClr val="bg1">
              <a:lumMod val="95000"/>
            </a:schemeClr>
          </a:solidFill>
          <a:ln w="12700" cap="flat">
            <a:noFill/>
            <a:miter lim="400000"/>
          </a:ln>
          <a:effectLst/>
        </p:spPr>
        <p:txBody>
          <a:bodyPr wrap="square" lIns="62399" tIns="62399" rIns="62399" bIns="0" numCol="1" anchor="t">
            <a:noAutofit/>
          </a:bodyPr>
          <a:lstStyle/>
          <a:p>
            <a:pPr defTabSz="1219140" hangingPunct="0">
              <a:lnSpc>
                <a:spcPct val="80000"/>
              </a:lnSpc>
              <a:defRPr sz="1400" cap="all">
                <a:latin typeface="Industry W00 Ultra"/>
                <a:ea typeface="Industry W00 Ultra"/>
                <a:cs typeface="Industry W00 Ultra"/>
                <a:sym typeface="Industry W00 Ultra"/>
              </a:defRPr>
            </a:pPr>
            <a:r>
              <a:rPr lang="es-ES" sz="1867" kern="0" cap="all" dirty="0">
                <a:solidFill>
                  <a:srgbClr val="E1000F"/>
                </a:solidFill>
                <a:latin typeface="Segoe UI" panose="020B0502040204020203" pitchFamily="34" charset="0"/>
                <a:cs typeface="Segoe UI" panose="020B0502040204020203" pitchFamily="34" charset="0"/>
                <a:sym typeface="Industry W00 Ultra"/>
              </a:rPr>
              <a:t>Transmisión y ANÁLISIS de datos</a:t>
            </a:r>
          </a:p>
          <a:p>
            <a:pPr defTabSz="1219140" hangingPunct="0">
              <a:lnSpc>
                <a:spcPct val="80000"/>
              </a:lnSpc>
              <a:defRPr sz="1400" cap="all">
                <a:latin typeface="Industry W00 Ultra"/>
                <a:ea typeface="Industry W00 Ultra"/>
                <a:cs typeface="Industry W00 Ultra"/>
                <a:sym typeface="Industry W00 Ultra"/>
              </a:defRPr>
            </a:pPr>
            <a:endParaRPr lang="es-ES" sz="800" kern="0" cap="all" dirty="0">
              <a:solidFill>
                <a:srgbClr val="000000"/>
              </a:solidFill>
              <a:latin typeface="Segoe UI" panose="020B0502040204020203" pitchFamily="34" charset="0"/>
              <a:cs typeface="Segoe UI" panose="020B0502040204020203" pitchFamily="34" charset="0"/>
              <a:sym typeface="Industry W00 Ultra"/>
            </a:endParaRP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AUTOSUFICIENTE: </a:t>
            </a:r>
            <a:r>
              <a:rPr lang="es-ES" sz="1467" kern="0" dirty="0">
                <a:solidFill>
                  <a:srgbClr val="000000"/>
                </a:solidFill>
                <a:latin typeface="Segoe UI" panose="020B0502040204020203" pitchFamily="34" charset="0"/>
                <a:cs typeface="Segoe UI" panose="020B0502040204020203" pitchFamily="34" charset="0"/>
                <a:sym typeface="Industry W00 Ultra"/>
              </a:rPr>
              <a:t>Cuenta con una batería de larga duración, hasta 5 años</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INDEPENDIENTE</a:t>
            </a:r>
            <a:r>
              <a:rPr lang="es-ES" sz="1467" kern="0" dirty="0">
                <a:solidFill>
                  <a:srgbClr val="000000"/>
                </a:solidFill>
                <a:latin typeface="Segoe UI" panose="020B0502040204020203" pitchFamily="34" charset="0"/>
                <a:cs typeface="Segoe UI" panose="020B0502040204020203" pitchFamily="34" charset="0"/>
                <a:sym typeface="Industry W00 Ultra"/>
              </a:rPr>
              <a:t>: Es independiente de la red local gracias a la comunicación sin cable </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ROBUSTO</a:t>
            </a:r>
            <a:r>
              <a:rPr lang="es-ES" sz="1467" kern="0" dirty="0">
                <a:solidFill>
                  <a:srgbClr val="000000"/>
                </a:solidFill>
                <a:latin typeface="Segoe UI" panose="020B0502040204020203" pitchFamily="34" charset="0"/>
                <a:cs typeface="Segoe UI" panose="020B0502040204020203" pitchFamily="34" charset="0"/>
                <a:sym typeface="Industry W00 Ultra"/>
              </a:rPr>
              <a:t>: Diseñado para su utilización en interiores y exteriores</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BASADO EN LA NUBE:</a:t>
            </a:r>
            <a:r>
              <a:rPr lang="es-ES" sz="1467" kern="0" dirty="0">
                <a:solidFill>
                  <a:srgbClr val="000000"/>
                </a:solidFill>
                <a:latin typeface="Segoe UI" panose="020B0502040204020203" pitchFamily="34" charset="0"/>
                <a:cs typeface="Segoe UI" panose="020B0502040204020203" pitchFamily="34" charset="0"/>
                <a:sym typeface="Industry W00 Ultra"/>
              </a:rPr>
              <a:t> Operación eficiente gracias a la división inteligente de análisis de datos locales y basados en la nube</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GARANTIZADO:</a:t>
            </a:r>
            <a:r>
              <a:rPr lang="es-ES" sz="1467" kern="0" dirty="0">
                <a:solidFill>
                  <a:srgbClr val="000000"/>
                </a:solidFill>
                <a:latin typeface="Segoe UI" panose="020B0502040204020203" pitchFamily="34" charset="0"/>
                <a:cs typeface="Segoe UI" panose="020B0502040204020203" pitchFamily="34" charset="0"/>
                <a:sym typeface="Industry W00 Ultra"/>
              </a:rPr>
              <a:t> Cumple los estándares de seguridad informática más avanzados</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SEGURO</a:t>
            </a:r>
            <a:r>
              <a:rPr lang="es-ES" sz="1467" kern="0" dirty="0">
                <a:solidFill>
                  <a:srgbClr val="000000"/>
                </a:solidFill>
                <a:latin typeface="Segoe UI" panose="020B0502040204020203" pitchFamily="34" charset="0"/>
                <a:cs typeface="Segoe UI" panose="020B0502040204020203" pitchFamily="34" charset="0"/>
                <a:sym typeface="Industry W00 Ultra"/>
              </a:rPr>
              <a:t>: Certificación de protección contra explosión</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Rentable:</a:t>
            </a:r>
            <a:r>
              <a:rPr lang="es-ES" sz="1467" kern="0" dirty="0">
                <a:solidFill>
                  <a:srgbClr val="000000"/>
                </a:solidFill>
                <a:latin typeface="Segoe UI" panose="020B0502040204020203" pitchFamily="34" charset="0"/>
                <a:cs typeface="Segoe UI" panose="020B0502040204020203" pitchFamily="34" charset="0"/>
                <a:sym typeface="Industry W00 Ultra"/>
              </a:rPr>
              <a:t> Parte de la suscripción</a:t>
            </a:r>
          </a:p>
        </p:txBody>
      </p:sp>
      <p:grpSp>
        <p:nvGrpSpPr>
          <p:cNvPr id="7" name="Gruppieren 6">
            <a:extLst>
              <a:ext uri="{FF2B5EF4-FFF2-40B4-BE49-F238E27FC236}">
                <a16:creationId xmlns:a16="http://schemas.microsoft.com/office/drawing/2014/main" id="{F8756E7D-0539-4DF3-8388-F2E6697C1D08}"/>
              </a:ext>
            </a:extLst>
          </p:cNvPr>
          <p:cNvGrpSpPr/>
          <p:nvPr/>
        </p:nvGrpSpPr>
        <p:grpSpPr bwMode="gray">
          <a:xfrm>
            <a:off x="7653685" y="5033520"/>
            <a:ext cx="3512580" cy="754175"/>
            <a:chOff x="5740263" y="3775138"/>
            <a:chExt cx="2634435" cy="565631"/>
          </a:xfrm>
        </p:grpSpPr>
        <p:sp>
          <p:nvSpPr>
            <p:cNvPr id="8" name="Oval">
              <a:extLst>
                <a:ext uri="{FF2B5EF4-FFF2-40B4-BE49-F238E27FC236}">
                  <a16:creationId xmlns:a16="http://schemas.microsoft.com/office/drawing/2014/main" id="{B3EC0651-0DF6-4910-B07F-5B11ADF2FD95}"/>
                </a:ext>
              </a:extLst>
            </p:cNvPr>
            <p:cNvSpPr/>
            <p:nvPr/>
          </p:nvSpPr>
          <p:spPr bwMode="gray">
            <a:xfrm rot="16141392">
              <a:off x="5740750" y="3776160"/>
              <a:ext cx="251025" cy="252000"/>
            </a:xfrm>
            <a:prstGeom prst="ellipse">
              <a:avLst/>
            </a:prstGeom>
            <a:noFill/>
            <a:ln w="25400" cap="flat">
              <a:solidFill>
                <a:srgbClr val="E10413"/>
              </a:solidFill>
              <a:prstDash val="solid"/>
              <a:round/>
            </a:ln>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9" name="Detection of bolt loosening &amp; necking">
              <a:extLst>
                <a:ext uri="{FF2B5EF4-FFF2-40B4-BE49-F238E27FC236}">
                  <a16:creationId xmlns:a16="http://schemas.microsoft.com/office/drawing/2014/main" id="{7572B368-5A06-48E6-9DA0-9FBC47BD6E30}"/>
                </a:ext>
              </a:extLst>
            </p:cNvPr>
            <p:cNvSpPr txBox="1"/>
            <p:nvPr/>
          </p:nvSpPr>
          <p:spPr bwMode="gray">
            <a:xfrm>
              <a:off x="6827123" y="3775138"/>
              <a:ext cx="1547575" cy="56563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a:solidFill>
                    <a:srgbClr val="000000"/>
                  </a:solidFill>
                  <a:latin typeface="Segoe UI" panose="020B0502040204020203" pitchFamily="34" charset="0"/>
                  <a:cs typeface="Segoe UI" panose="020B0502040204020203" pitchFamily="34" charset="0"/>
                </a:rPr>
                <a:t>A batería</a:t>
              </a:r>
              <a:br>
                <a:rPr lang="es-ES" sz="1333" b="1" kern="0">
                  <a:solidFill>
                    <a:srgbClr val="000000"/>
                  </a:solidFill>
                  <a:latin typeface="Segoe UI" panose="020B0502040204020203" pitchFamily="34" charset="0"/>
                  <a:cs typeface="Segoe UI" panose="020B0502040204020203" pitchFamily="34" charset="0"/>
                </a:rPr>
              </a:br>
              <a:r>
                <a:rPr lang="es-ES" sz="1333" kern="0">
                  <a:solidFill>
                    <a:srgbClr val="000000"/>
                  </a:solidFill>
                  <a:latin typeface="Segoe UI" panose="020B0502040204020203" pitchFamily="34" charset="0"/>
                  <a:cs typeface="Segoe UI" panose="020B0502040204020203" pitchFamily="34" charset="0"/>
                </a:rPr>
                <a:t>con una vida útil</a:t>
              </a:r>
              <a:br>
                <a:rPr lang="es-ES" sz="1333" kern="0">
                  <a:solidFill>
                    <a:srgbClr val="000000"/>
                  </a:solidFill>
                  <a:latin typeface="Segoe UI" panose="020B0502040204020203" pitchFamily="34" charset="0"/>
                  <a:cs typeface="Segoe UI" panose="020B0502040204020203" pitchFamily="34" charset="0"/>
                </a:rPr>
              </a:br>
              <a:r>
                <a:rPr lang="es-ES" sz="1333" kern="0">
                  <a:solidFill>
                    <a:srgbClr val="000000"/>
                  </a:solidFill>
                  <a:latin typeface="Segoe UI" panose="020B0502040204020203" pitchFamily="34" charset="0"/>
                  <a:cs typeface="Segoe UI" panose="020B0502040204020203" pitchFamily="34" charset="0"/>
                </a:rPr>
                <a:t>de hasta 5 años</a:t>
              </a:r>
            </a:p>
          </p:txBody>
        </p:sp>
        <p:sp>
          <p:nvSpPr>
            <p:cNvPr id="10" name="Line">
              <a:extLst>
                <a:ext uri="{FF2B5EF4-FFF2-40B4-BE49-F238E27FC236}">
                  <a16:creationId xmlns:a16="http://schemas.microsoft.com/office/drawing/2014/main" id="{10A2BED8-A35C-411A-9389-A05E09147A38}"/>
                </a:ext>
              </a:extLst>
            </p:cNvPr>
            <p:cNvSpPr/>
            <p:nvPr/>
          </p:nvSpPr>
          <p:spPr bwMode="gray">
            <a:xfrm>
              <a:off x="5987843" y="3902160"/>
              <a:ext cx="814277" cy="0"/>
            </a:xfrm>
            <a:prstGeom prst="line">
              <a:avLst/>
            </a:prstGeom>
            <a:noFill/>
            <a:ln w="25400" cap="flat">
              <a:solidFill>
                <a:srgbClr val="E10413"/>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grpSp>
      <p:grpSp>
        <p:nvGrpSpPr>
          <p:cNvPr id="11" name="Gruppieren 10">
            <a:extLst>
              <a:ext uri="{FF2B5EF4-FFF2-40B4-BE49-F238E27FC236}">
                <a16:creationId xmlns:a16="http://schemas.microsoft.com/office/drawing/2014/main" id="{01FDE5A8-FAAB-4CF4-BDE2-572B1DA2BA71}"/>
              </a:ext>
            </a:extLst>
          </p:cNvPr>
          <p:cNvGrpSpPr/>
          <p:nvPr/>
        </p:nvGrpSpPr>
        <p:grpSpPr bwMode="gray">
          <a:xfrm>
            <a:off x="9192032" y="2648757"/>
            <a:ext cx="2465977" cy="1879094"/>
            <a:chOff x="6784295" y="2078008"/>
            <a:chExt cx="1849483" cy="1409321"/>
          </a:xfrm>
        </p:grpSpPr>
        <p:sp>
          <p:nvSpPr>
            <p:cNvPr id="12" name="Oval">
              <a:extLst>
                <a:ext uri="{FF2B5EF4-FFF2-40B4-BE49-F238E27FC236}">
                  <a16:creationId xmlns:a16="http://schemas.microsoft.com/office/drawing/2014/main" id="{F66DEB7A-5A59-45E8-BFB1-C9C909201210}"/>
                </a:ext>
              </a:extLst>
            </p:cNvPr>
            <p:cNvSpPr/>
            <p:nvPr/>
          </p:nvSpPr>
          <p:spPr bwMode="gray">
            <a:xfrm rot="16141392">
              <a:off x="6784782" y="2077521"/>
              <a:ext cx="251025" cy="252000"/>
            </a:xfrm>
            <a:prstGeom prst="ellipse">
              <a:avLst/>
            </a:prstGeom>
            <a:noFill/>
            <a:ln w="25400" cap="flat">
              <a:solidFill>
                <a:srgbClr val="E10413"/>
              </a:solidFill>
              <a:prstDash val="solid"/>
              <a:round/>
            </a:ln>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13" name="Line">
              <a:extLst>
                <a:ext uri="{FF2B5EF4-FFF2-40B4-BE49-F238E27FC236}">
                  <a16:creationId xmlns:a16="http://schemas.microsoft.com/office/drawing/2014/main" id="{BF096567-EB2C-48A1-A20B-E785F35FD7B6}"/>
                </a:ext>
              </a:extLst>
            </p:cNvPr>
            <p:cNvSpPr/>
            <p:nvPr/>
          </p:nvSpPr>
          <p:spPr bwMode="gray">
            <a:xfrm>
              <a:off x="6898005" y="3043892"/>
              <a:ext cx="182246" cy="0"/>
            </a:xfrm>
            <a:prstGeom prst="line">
              <a:avLst/>
            </a:prstGeom>
            <a:noFill/>
            <a:ln w="25400" cap="flat">
              <a:solidFill>
                <a:srgbClr val="E10413"/>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14" name="Line">
              <a:extLst>
                <a:ext uri="{FF2B5EF4-FFF2-40B4-BE49-F238E27FC236}">
                  <a16:creationId xmlns:a16="http://schemas.microsoft.com/office/drawing/2014/main" id="{F103497D-7A64-4051-9A71-EE6B89CD2AF0}"/>
                </a:ext>
              </a:extLst>
            </p:cNvPr>
            <p:cNvSpPr/>
            <p:nvPr/>
          </p:nvSpPr>
          <p:spPr bwMode="gray">
            <a:xfrm flipV="1">
              <a:off x="6901200" y="2322613"/>
              <a:ext cx="0" cy="715219"/>
            </a:xfrm>
            <a:prstGeom prst="line">
              <a:avLst/>
            </a:prstGeom>
            <a:noFill/>
            <a:ln w="25400" cap="flat">
              <a:solidFill>
                <a:srgbClr val="E10413"/>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15" name="Detection of bolt loosening &amp; necking">
              <a:extLst>
                <a:ext uri="{FF2B5EF4-FFF2-40B4-BE49-F238E27FC236}">
                  <a16:creationId xmlns:a16="http://schemas.microsoft.com/office/drawing/2014/main" id="{08F5B5F3-0B95-479C-9940-2F954F0C244F}"/>
                </a:ext>
              </a:extLst>
            </p:cNvPr>
            <p:cNvSpPr txBox="1"/>
            <p:nvPr/>
          </p:nvSpPr>
          <p:spPr bwMode="gray">
            <a:xfrm>
              <a:off x="7086203" y="2921698"/>
              <a:ext cx="1547575" cy="56563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0957" tIns="60957" rIns="60957" bIns="60957" numCol="1" anchor="t">
              <a:spAutoFit/>
            </a:bodyPr>
            <a:lstStyle>
              <a:lvl1pPr defTabSz="914378">
                <a:lnSpc>
                  <a:spcPct val="104999"/>
                </a:lnSpc>
                <a:defRPr sz="900">
                  <a:latin typeface="Henkel Milo-Regular"/>
                  <a:ea typeface="Henkel Milo-Regular"/>
                  <a:cs typeface="Henkel Milo-Regular"/>
                  <a:sym typeface="Henkel Milo-Regular"/>
                </a:defRPr>
              </a:lvl1pPr>
            </a:lstStyle>
            <a:p>
              <a:pPr defTabSz="1219140" hangingPunct="0"/>
              <a:r>
                <a:rPr lang="es-ES" sz="1333" b="1" kern="0">
                  <a:solidFill>
                    <a:srgbClr val="000000"/>
                  </a:solidFill>
                  <a:latin typeface="Segoe UI"/>
                  <a:cs typeface="Segoe UI"/>
                </a:rPr>
                <a:t>Comunicación sin cable</a:t>
              </a:r>
              <a:br>
                <a:rPr lang="es-ES" sz="1333" b="1" kern="0">
                  <a:solidFill>
                    <a:srgbClr val="000000"/>
                  </a:solidFill>
                  <a:latin typeface="Segoe UI" panose="020B0502040204020203" pitchFamily="34" charset="0"/>
                  <a:cs typeface="Segoe UI" panose="020B0502040204020203" pitchFamily="34" charset="0"/>
                </a:rPr>
              </a:br>
              <a:r>
                <a:rPr lang="es-ES" sz="1333" kern="0">
                  <a:solidFill>
                    <a:srgbClr val="000000"/>
                  </a:solidFill>
                  <a:latin typeface="Segoe UI"/>
                  <a:cs typeface="Segoe UI"/>
                </a:rPr>
                <a:t>independiente de la red corporativa o local</a:t>
              </a:r>
            </a:p>
          </p:txBody>
        </p:sp>
      </p:grpSp>
      <p:sp>
        <p:nvSpPr>
          <p:cNvPr id="20" name="Circle">
            <a:extLst>
              <a:ext uri="{FF2B5EF4-FFF2-40B4-BE49-F238E27FC236}">
                <a16:creationId xmlns:a16="http://schemas.microsoft.com/office/drawing/2014/main" id="{320C0941-3B5F-42E1-A252-233A18152426}"/>
              </a:ext>
            </a:extLst>
          </p:cNvPr>
          <p:cNvSpPr/>
          <p:nvPr/>
        </p:nvSpPr>
        <p:spPr bwMode="gray">
          <a:xfrm>
            <a:off x="590549" y="461103"/>
            <a:ext cx="624435" cy="624432"/>
          </a:xfrm>
          <a:prstGeom prst="ellipse">
            <a:avLst/>
          </a:prstGeom>
          <a:solidFill>
            <a:srgbClr val="E10413"/>
          </a:solidFill>
          <a:ln w="12700">
            <a:miter lim="400000"/>
          </a:ln>
        </p:spPr>
        <p:txBody>
          <a:bodyPr lIns="62399" tIns="62399" rIns="62399" bIns="62399" anchor="ctr"/>
          <a:lstStyle/>
          <a:p>
            <a:pPr algn="ctr" defTabSz="1219140" hangingPunct="0">
              <a:defRPr/>
            </a:pPr>
            <a:r>
              <a:rPr lang="es-ES" sz="3200" kern="0">
                <a:solidFill>
                  <a:srgbClr val="FFFFFF"/>
                </a:solidFill>
                <a:latin typeface="Segoe UI" panose="020B0502040204020203" pitchFamily="34" charset="0"/>
                <a:cs typeface="Segoe UI" panose="020B0502040204020203" pitchFamily="34" charset="0"/>
                <a:sym typeface="Segoe UI"/>
              </a:rPr>
              <a:t>2</a:t>
            </a:r>
          </a:p>
        </p:txBody>
      </p:sp>
      <p:sp>
        <p:nvSpPr>
          <p:cNvPr id="24" name="Circle">
            <a:extLst>
              <a:ext uri="{FF2B5EF4-FFF2-40B4-BE49-F238E27FC236}">
                <a16:creationId xmlns:a16="http://schemas.microsoft.com/office/drawing/2014/main" id="{48AB1818-6792-4AC8-9FCC-290C9B53BE33}"/>
              </a:ext>
            </a:extLst>
          </p:cNvPr>
          <p:cNvSpPr/>
          <p:nvPr/>
        </p:nvSpPr>
        <p:spPr bwMode="gray">
          <a:xfrm>
            <a:off x="1708149" y="461103"/>
            <a:ext cx="624435" cy="624432"/>
          </a:xfrm>
          <a:prstGeom prst="ellipse">
            <a:avLst/>
          </a:prstGeom>
          <a:solidFill>
            <a:srgbClr val="E10413"/>
          </a:solidFill>
          <a:ln w="12700">
            <a:miter lim="400000"/>
          </a:ln>
        </p:spPr>
        <p:txBody>
          <a:bodyPr lIns="62399" tIns="62399" rIns="62399" bIns="62399" anchor="ctr"/>
          <a:lstStyle/>
          <a:p>
            <a:pPr algn="ctr" defTabSz="1219140" hangingPunct="0">
              <a:defRPr/>
            </a:pPr>
            <a:r>
              <a:rPr lang="es-ES" sz="3200" kern="0">
                <a:solidFill>
                  <a:srgbClr val="FFFFFF"/>
                </a:solidFill>
                <a:latin typeface="Segoe UI" panose="020B0502040204020203" pitchFamily="34" charset="0"/>
                <a:cs typeface="Segoe UI" panose="020B0502040204020203" pitchFamily="34" charset="0"/>
                <a:sym typeface="Segoe UI"/>
              </a:rPr>
              <a:t>3</a:t>
            </a:r>
          </a:p>
        </p:txBody>
      </p:sp>
      <p:grpSp>
        <p:nvGrpSpPr>
          <p:cNvPr id="25" name="Gruppieren 24">
            <a:extLst>
              <a:ext uri="{FF2B5EF4-FFF2-40B4-BE49-F238E27FC236}">
                <a16:creationId xmlns:a16="http://schemas.microsoft.com/office/drawing/2014/main" id="{67B0E50E-6508-4078-9324-DCF797A61FE9}"/>
              </a:ext>
            </a:extLst>
          </p:cNvPr>
          <p:cNvGrpSpPr/>
          <p:nvPr/>
        </p:nvGrpSpPr>
        <p:grpSpPr bwMode="gray">
          <a:xfrm>
            <a:off x="11564326" y="162392"/>
            <a:ext cx="547663" cy="683491"/>
            <a:chOff x="8673244" y="121794"/>
            <a:chExt cx="410747" cy="512618"/>
          </a:xfrm>
        </p:grpSpPr>
        <p:grpSp>
          <p:nvGrpSpPr>
            <p:cNvPr id="30" name="Gruppieren 29">
              <a:extLst>
                <a:ext uri="{FF2B5EF4-FFF2-40B4-BE49-F238E27FC236}">
                  <a16:creationId xmlns:a16="http://schemas.microsoft.com/office/drawing/2014/main" id="{E3645772-0889-47FD-BE04-DAD7CBF1A2BF}"/>
                </a:ext>
              </a:extLst>
            </p:cNvPr>
            <p:cNvGrpSpPr/>
            <p:nvPr/>
          </p:nvGrpSpPr>
          <p:grpSpPr bwMode="gray">
            <a:xfrm>
              <a:off x="8673244" y="121794"/>
              <a:ext cx="410747" cy="512618"/>
              <a:chOff x="8166407" y="354405"/>
              <a:chExt cx="564701" cy="704754"/>
            </a:xfrm>
          </p:grpSpPr>
          <p:sp>
            <p:nvSpPr>
              <p:cNvPr id="32" name="Circle">
                <a:hlinkClick r:id="" action="ppaction://noaction"/>
                <a:extLst>
                  <a:ext uri="{FF2B5EF4-FFF2-40B4-BE49-F238E27FC236}">
                    <a16:creationId xmlns:a16="http://schemas.microsoft.com/office/drawing/2014/main" id="{7D295FCB-AE4F-48FB-B5B8-40810C310822}"/>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33" name="Rectangle 17">
                <a:extLst>
                  <a:ext uri="{FF2B5EF4-FFF2-40B4-BE49-F238E27FC236}">
                    <a16:creationId xmlns:a16="http://schemas.microsoft.com/office/drawing/2014/main" id="{0BE99B6D-6664-4DA9-9A9D-711C495D8D1D}"/>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31" name="Grafik 30" descr="Zurück mit einfarbiger Füllung">
              <a:hlinkClick r:id="" action="ppaction://noaction"/>
              <a:extLst>
                <a:ext uri="{FF2B5EF4-FFF2-40B4-BE49-F238E27FC236}">
                  <a16:creationId xmlns:a16="http://schemas.microsoft.com/office/drawing/2014/main" id="{9D0584AF-3980-42DE-BD73-F9F7BDCB47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8732841" y="132370"/>
              <a:ext cx="285750" cy="285750"/>
            </a:xfrm>
            <a:prstGeom prst="rect">
              <a:avLst/>
            </a:prstGeom>
          </p:spPr>
        </p:pic>
      </p:grpSp>
    </p:spTree>
    <p:extLst>
      <p:ext uri="{BB962C8B-B14F-4D97-AF65-F5344CB8AC3E}">
        <p14:creationId xmlns:p14="http://schemas.microsoft.com/office/powerpoint/2010/main" val="694206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hand holding a red cell phone&#10;&#10;Description automatically generated with low confidence">
            <a:extLst>
              <a:ext uri="{FF2B5EF4-FFF2-40B4-BE49-F238E27FC236}">
                <a16:creationId xmlns:a16="http://schemas.microsoft.com/office/drawing/2014/main" id="{F55C676F-98F3-4B3E-81C1-EE1EFF1DC2DB}"/>
              </a:ext>
            </a:extLst>
          </p:cNvPr>
          <p:cNvPicPr>
            <a:picLocks noChangeAspect="1"/>
          </p:cNvPicPr>
          <p:nvPr/>
        </p:nvPicPr>
        <p:blipFill rotWithShape="1">
          <a:blip r:embed="rId3"/>
          <a:srcRect b="21576"/>
          <a:stretch/>
        </p:blipFill>
        <p:spPr bwMode="gray">
          <a:xfrm>
            <a:off x="5701806" y="652346"/>
            <a:ext cx="3619673" cy="6205655"/>
          </a:xfrm>
          <a:prstGeom prst="rect">
            <a:avLst/>
          </a:prstGeom>
        </p:spPr>
      </p:pic>
      <p:graphicFrame>
        <p:nvGraphicFramePr>
          <p:cNvPr id="10" name="Objekt 9" hidden="1">
            <a:extLst>
              <a:ext uri="{FF2B5EF4-FFF2-40B4-BE49-F238E27FC236}">
                <a16:creationId xmlns:a16="http://schemas.microsoft.com/office/drawing/2014/main" id="{C13DC632-7EC3-4B23-A347-83AD7F37A5F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10" name="Objekt 9" hidden="1">
                        <a:extLst>
                          <a:ext uri="{FF2B5EF4-FFF2-40B4-BE49-F238E27FC236}">
                            <a16:creationId xmlns:a16="http://schemas.microsoft.com/office/drawing/2014/main" id="{C13DC632-7EC3-4B23-A347-83AD7F37A5F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597931B-559B-4D68-8680-689B57B48D55}"/>
              </a:ext>
            </a:extLst>
          </p:cNvPr>
          <p:cNvSpPr>
            <a:spLocks noGrp="1"/>
          </p:cNvSpPr>
          <p:nvPr>
            <p:ph type="title"/>
          </p:nvPr>
        </p:nvSpPr>
        <p:spPr bwMode="gray"/>
        <p:txBody>
          <a:bodyPr vert="horz"/>
          <a:lstStyle/>
          <a:p>
            <a:r>
              <a:rPr lang="es-ES"/>
              <a:t>      </a:t>
            </a:r>
            <a:r>
              <a:rPr lang="es-ES" sz="3200"/>
              <a:t>VISUALIZACIÓN DE DATOS</a:t>
            </a:r>
            <a:br>
              <a:rPr lang="es-ES"/>
            </a:br>
            <a:endParaRPr lang="es-ES"/>
          </a:p>
        </p:txBody>
      </p:sp>
      <p:sp>
        <p:nvSpPr>
          <p:cNvPr id="3" name="Untertitel 2">
            <a:extLst>
              <a:ext uri="{FF2B5EF4-FFF2-40B4-BE49-F238E27FC236}">
                <a16:creationId xmlns:a16="http://schemas.microsoft.com/office/drawing/2014/main" id="{1EB59144-34EA-4DB6-B55E-2121F2870C42}"/>
              </a:ext>
            </a:extLst>
          </p:cNvPr>
          <p:cNvSpPr>
            <a:spLocks noGrp="1"/>
          </p:cNvSpPr>
          <p:nvPr>
            <p:ph type="subTitle" idx="14"/>
          </p:nvPr>
        </p:nvSpPr>
        <p:spPr bwMode="gray"/>
        <p:txBody>
          <a:bodyPr/>
          <a:lstStyle/>
          <a:p>
            <a:r>
              <a:rPr lang="es-ES" sz="2133" b="1" dirty="0"/>
              <a:t>¿Cómo se accede y se ve la información?</a:t>
            </a:r>
          </a:p>
          <a:p>
            <a:endParaRPr lang="en-US" dirty="0"/>
          </a:p>
        </p:txBody>
      </p:sp>
      <p:sp>
        <p:nvSpPr>
          <p:cNvPr id="8" name="Rounded Rectangle">
            <a:extLst>
              <a:ext uri="{FF2B5EF4-FFF2-40B4-BE49-F238E27FC236}">
                <a16:creationId xmlns:a16="http://schemas.microsoft.com/office/drawing/2014/main" id="{3B756994-ABEA-4D8E-ACF4-24D99A83317D}"/>
              </a:ext>
            </a:extLst>
          </p:cNvPr>
          <p:cNvSpPr/>
          <p:nvPr/>
        </p:nvSpPr>
        <p:spPr bwMode="gray">
          <a:xfrm>
            <a:off x="618653" y="1658066"/>
            <a:ext cx="4832923" cy="4713676"/>
          </a:xfrm>
          <a:prstGeom prst="roundRect">
            <a:avLst>
              <a:gd name="adj" fmla="val 4731"/>
            </a:avLst>
          </a:prstGeom>
          <a:solidFill>
            <a:schemeClr val="bg1">
              <a:lumMod val="95000"/>
            </a:schemeClr>
          </a:solidFill>
          <a:ln w="12700" cap="flat">
            <a:noFill/>
            <a:miter lim="400000"/>
          </a:ln>
          <a:effectLst/>
        </p:spPr>
        <p:txBody>
          <a:bodyPr wrap="square" lIns="62399" tIns="62399" rIns="62399" bIns="62399" numCol="1" anchor="t">
            <a:noAutofit/>
          </a:bodyPr>
          <a:lstStyle/>
          <a:p>
            <a:pPr defTabSz="1219140" hangingPunct="0">
              <a:lnSpc>
                <a:spcPct val="80000"/>
              </a:lnSpc>
              <a:defRPr sz="1400" cap="all">
                <a:latin typeface="Industry W00 Ultra"/>
                <a:ea typeface="Industry W00 Ultra"/>
                <a:cs typeface="Industry W00 Ultra"/>
                <a:sym typeface="Industry W00 Ultra"/>
              </a:defRPr>
            </a:pPr>
            <a:r>
              <a:rPr lang="es-ES" sz="1867" kern="0" cap="all" dirty="0">
                <a:solidFill>
                  <a:srgbClr val="E1000F"/>
                </a:solidFill>
                <a:latin typeface="Segoe UI" panose="020B0502040204020203" pitchFamily="34" charset="0"/>
                <a:cs typeface="Segoe UI" panose="020B0502040204020203" pitchFamily="34" charset="0"/>
                <a:sym typeface="Industry W00 Ultra"/>
              </a:rPr>
              <a:t>visualización de la información de </a:t>
            </a:r>
          </a:p>
          <a:p>
            <a:pPr defTabSz="1219140" hangingPunct="0">
              <a:lnSpc>
                <a:spcPct val="80000"/>
              </a:lnSpc>
              <a:defRPr sz="1400" cap="all">
                <a:latin typeface="Industry W00 Ultra"/>
                <a:ea typeface="Industry W00 Ultra"/>
                <a:cs typeface="Industry W00 Ultra"/>
                <a:sym typeface="Industry W00 Ultra"/>
              </a:defRPr>
            </a:pPr>
            <a:r>
              <a:rPr lang="es-ES" sz="1867" kern="0" cap="all" dirty="0">
                <a:solidFill>
                  <a:srgbClr val="E1000F"/>
                </a:solidFill>
                <a:latin typeface="Segoe UI" panose="020B0502040204020203" pitchFamily="34" charset="0"/>
                <a:cs typeface="Segoe UI" panose="020B0502040204020203" pitchFamily="34" charset="0"/>
                <a:sym typeface="Industry W00 Ultra"/>
              </a:rPr>
              <a:t>acuerdo a las necesidades del usuario</a:t>
            </a:r>
          </a:p>
          <a:p>
            <a:pPr defTabSz="1219140" hangingPunct="0">
              <a:lnSpc>
                <a:spcPct val="104999"/>
              </a:lnSpc>
              <a:defRPr sz="1000">
                <a:latin typeface="Industry W00 Demi"/>
                <a:ea typeface="Industry W00 Demi"/>
                <a:cs typeface="Industry W00 Demi"/>
                <a:sym typeface="Industry W00 Demi"/>
              </a:defRPr>
            </a:pPr>
            <a:r>
              <a:rPr lang="es-ES" sz="800" kern="0" dirty="0">
                <a:solidFill>
                  <a:srgbClr val="000000"/>
                </a:solidFill>
                <a:latin typeface="Segoe UI" panose="020B0502040204020203" pitchFamily="34" charset="0"/>
                <a:cs typeface="Segoe UI" panose="020B0502040204020203" pitchFamily="34" charset="0"/>
                <a:sym typeface="Industry W00 Demi"/>
              </a:rPr>
              <a:t> </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INDEPENDIENTE</a:t>
            </a:r>
            <a:r>
              <a:rPr lang="es-ES" sz="1467" kern="0" dirty="0">
                <a:solidFill>
                  <a:srgbClr val="000000"/>
                </a:solidFill>
                <a:latin typeface="Segoe UI" panose="020B0502040204020203" pitchFamily="34" charset="0"/>
                <a:cs typeface="Segoe UI" panose="020B0502040204020203" pitchFamily="34" charset="0"/>
                <a:sym typeface="Industry W00 Ultra"/>
              </a:rPr>
              <a:t>: Plataforma electrónica independiente del dispositivo final o del sistema operativo</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TODO INTEGRADO</a:t>
            </a:r>
            <a:r>
              <a:rPr lang="es-ES" sz="1467" kern="0" dirty="0">
                <a:solidFill>
                  <a:srgbClr val="000000"/>
                </a:solidFill>
                <a:latin typeface="Segoe UI" panose="020B0502040204020203" pitchFamily="34" charset="0"/>
                <a:cs typeface="Segoe UI" panose="020B0502040204020203" pitchFamily="34" charset="0"/>
                <a:sym typeface="Industry W00 Ultra"/>
              </a:rPr>
              <a:t> Todas las soluciones </a:t>
            </a:r>
            <a:r>
              <a:rPr lang="es-ES" sz="1467" kern="0" dirty="0" err="1">
                <a:solidFill>
                  <a:srgbClr val="000000"/>
                </a:solidFill>
                <a:latin typeface="Segoe UI" panose="020B0502040204020203" pitchFamily="34" charset="0"/>
                <a:cs typeface="Segoe UI" panose="020B0502040204020203" pitchFamily="34" charset="0"/>
                <a:sym typeface="Industry W00 Ultra"/>
              </a:rPr>
              <a:t>All</a:t>
            </a:r>
            <a:r>
              <a:rPr lang="es-ES" sz="1467" kern="0" dirty="0">
                <a:solidFill>
                  <a:srgbClr val="000000"/>
                </a:solidFill>
                <a:latin typeface="Segoe UI" panose="020B0502040204020203" pitchFamily="34" charset="0"/>
                <a:cs typeface="Segoe UI" panose="020B0502040204020203" pitchFamily="34" charset="0"/>
                <a:sym typeface="Industry W00 Ultra"/>
              </a:rPr>
              <a:t> LOCTITE® Pulse están integradas en un sistema</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ACCESIBLE</a:t>
            </a:r>
            <a:r>
              <a:rPr lang="es-ES" sz="1467" kern="0" dirty="0">
                <a:solidFill>
                  <a:srgbClr val="000000"/>
                </a:solidFill>
                <a:latin typeface="Segoe UI" panose="020B0502040204020203" pitchFamily="34" charset="0"/>
                <a:cs typeface="Segoe UI" panose="020B0502040204020203" pitchFamily="34" charset="0"/>
                <a:sym typeface="Industry W00 Ultra"/>
              </a:rPr>
              <a:t>: Acceso a la información independientemente del lugar</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FÁCIL DE UTILIZAR</a:t>
            </a:r>
            <a:r>
              <a:rPr lang="es-ES" sz="1467" kern="0" dirty="0">
                <a:solidFill>
                  <a:srgbClr val="000000"/>
                </a:solidFill>
                <a:latin typeface="Segoe UI" panose="020B0502040204020203" pitchFamily="34" charset="0"/>
                <a:cs typeface="Segoe UI" panose="020B0502040204020203" pitchFamily="34" charset="0"/>
                <a:sym typeface="Industry W00 Ultra"/>
              </a:rPr>
              <a:t>: Manejo e instalación simple e intuitiva</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PERSONALIZABLE:</a:t>
            </a:r>
            <a:r>
              <a:rPr lang="es-ES" sz="1467" kern="0" dirty="0">
                <a:solidFill>
                  <a:srgbClr val="000000"/>
                </a:solidFill>
                <a:latin typeface="Segoe UI" panose="020B0502040204020203" pitchFamily="34" charset="0"/>
                <a:cs typeface="Segoe UI" panose="020B0502040204020203" pitchFamily="34" charset="0"/>
                <a:sym typeface="Industry W00 Ultra"/>
              </a:rPr>
              <a:t> Contenido y estructuras adaptables a las necesidades del cliente</a:t>
            </a:r>
          </a:p>
          <a:p>
            <a:pPr marL="304783" indent="-304783" defTabSz="1219140" hangingPunct="0">
              <a:lnSpc>
                <a:spcPct val="104999"/>
              </a:lnSpc>
              <a:spcBef>
                <a:spcPts val="400"/>
              </a:spcBef>
              <a:buClr>
                <a:srgbClr val="E10413"/>
              </a:buClr>
              <a:buSzPct val="100000"/>
              <a:buFont typeface="Wingdings" panose="05000000000000000000" pitchFamily="2" charset="2"/>
              <a:buChar char="§"/>
              <a:defRPr sz="900">
                <a:solidFill>
                  <a:srgbClr val="919191"/>
                </a:solidFill>
                <a:latin typeface="Industry W00 Ultra"/>
                <a:ea typeface="Industry W00 Ultra"/>
                <a:cs typeface="Industry W00 Ultra"/>
                <a:sym typeface="Industry W00 Ultra"/>
              </a:defRPr>
            </a:pPr>
            <a:r>
              <a:rPr lang="es-ES" sz="1467" b="1" kern="0" dirty="0">
                <a:solidFill>
                  <a:srgbClr val="000000"/>
                </a:solidFill>
                <a:latin typeface="Segoe UI" panose="020B0502040204020203" pitchFamily="34" charset="0"/>
                <a:cs typeface="Segoe UI" panose="020B0502040204020203" pitchFamily="34" charset="0"/>
                <a:sym typeface="Industry W00 Ultra"/>
              </a:rPr>
              <a:t>EN BASE A PERFILES PREDEFINIDOS:</a:t>
            </a:r>
            <a:r>
              <a:rPr lang="es-ES" sz="1467" kern="0" dirty="0">
                <a:solidFill>
                  <a:srgbClr val="000000"/>
                </a:solidFill>
                <a:latin typeface="Segoe UI" panose="020B0502040204020203" pitchFamily="34" charset="0"/>
                <a:cs typeface="Segoe UI" panose="020B0502040204020203" pitchFamily="34" charset="0"/>
                <a:sym typeface="Industry W00 Ultra"/>
              </a:rPr>
              <a:t> Preparación de los datos y las funcionalidades dependientes de la función definida</a:t>
            </a:r>
          </a:p>
        </p:txBody>
      </p:sp>
      <p:sp>
        <p:nvSpPr>
          <p:cNvPr id="11" name="Circle">
            <a:extLst>
              <a:ext uri="{FF2B5EF4-FFF2-40B4-BE49-F238E27FC236}">
                <a16:creationId xmlns:a16="http://schemas.microsoft.com/office/drawing/2014/main" id="{F56407E4-A58E-40BA-8081-546721520703}"/>
              </a:ext>
            </a:extLst>
          </p:cNvPr>
          <p:cNvSpPr/>
          <p:nvPr/>
        </p:nvSpPr>
        <p:spPr bwMode="gray">
          <a:xfrm>
            <a:off x="590549" y="461103"/>
            <a:ext cx="624435" cy="624432"/>
          </a:xfrm>
          <a:prstGeom prst="ellipse">
            <a:avLst/>
          </a:prstGeom>
          <a:solidFill>
            <a:srgbClr val="E10413"/>
          </a:solidFill>
          <a:ln w="12700">
            <a:miter lim="400000"/>
          </a:ln>
        </p:spPr>
        <p:txBody>
          <a:bodyPr lIns="62399" tIns="62399" rIns="62399" bIns="62399" anchor="ctr"/>
          <a:lstStyle/>
          <a:p>
            <a:pPr algn="ctr" defTabSz="1219140" hangingPunct="0">
              <a:defRPr/>
            </a:pPr>
            <a:r>
              <a:rPr lang="es-ES" sz="3200" kern="0">
                <a:solidFill>
                  <a:srgbClr val="FFFFFF"/>
                </a:solidFill>
                <a:latin typeface="Segoe UI" panose="020B0502040204020203" pitchFamily="34" charset="0"/>
                <a:cs typeface="Segoe UI" panose="020B0502040204020203" pitchFamily="34" charset="0"/>
                <a:sym typeface="Segoe UI"/>
              </a:rPr>
              <a:t>4</a:t>
            </a:r>
          </a:p>
        </p:txBody>
      </p:sp>
      <p:grpSp>
        <p:nvGrpSpPr>
          <p:cNvPr id="17" name="Gruppieren 16">
            <a:extLst>
              <a:ext uri="{FF2B5EF4-FFF2-40B4-BE49-F238E27FC236}">
                <a16:creationId xmlns:a16="http://schemas.microsoft.com/office/drawing/2014/main" id="{D17A6867-9DFB-4582-848A-AA4382C05106}"/>
              </a:ext>
            </a:extLst>
          </p:cNvPr>
          <p:cNvGrpSpPr/>
          <p:nvPr/>
        </p:nvGrpSpPr>
        <p:grpSpPr bwMode="gray">
          <a:xfrm>
            <a:off x="11564326" y="162392"/>
            <a:ext cx="547663" cy="683491"/>
            <a:chOff x="8673244" y="121794"/>
            <a:chExt cx="410747" cy="512618"/>
          </a:xfrm>
        </p:grpSpPr>
        <p:grpSp>
          <p:nvGrpSpPr>
            <p:cNvPr id="18" name="Gruppieren 17">
              <a:extLst>
                <a:ext uri="{FF2B5EF4-FFF2-40B4-BE49-F238E27FC236}">
                  <a16:creationId xmlns:a16="http://schemas.microsoft.com/office/drawing/2014/main" id="{E07074F2-981A-4F84-AD88-D3F992948BDA}"/>
                </a:ext>
              </a:extLst>
            </p:cNvPr>
            <p:cNvGrpSpPr/>
            <p:nvPr/>
          </p:nvGrpSpPr>
          <p:grpSpPr bwMode="gray">
            <a:xfrm>
              <a:off x="8673244" y="121794"/>
              <a:ext cx="410747" cy="512618"/>
              <a:chOff x="8166407" y="354405"/>
              <a:chExt cx="564701" cy="704754"/>
            </a:xfrm>
          </p:grpSpPr>
          <p:sp>
            <p:nvSpPr>
              <p:cNvPr id="20" name="Circle">
                <a:hlinkClick r:id="" action="ppaction://noaction"/>
                <a:extLst>
                  <a:ext uri="{FF2B5EF4-FFF2-40B4-BE49-F238E27FC236}">
                    <a16:creationId xmlns:a16="http://schemas.microsoft.com/office/drawing/2014/main" id="{61325775-6F20-4FDB-910E-12230A1760D1}"/>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21" name="Rectangle 17">
                <a:extLst>
                  <a:ext uri="{FF2B5EF4-FFF2-40B4-BE49-F238E27FC236}">
                    <a16:creationId xmlns:a16="http://schemas.microsoft.com/office/drawing/2014/main" id="{1AA28893-B4CA-4C62-BBE3-1A53438B9F12}"/>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19" name="Grafik 18" descr="Zurück mit einfarbiger Füllung">
              <a:hlinkClick r:id="" action="ppaction://noaction"/>
              <a:extLst>
                <a:ext uri="{FF2B5EF4-FFF2-40B4-BE49-F238E27FC236}">
                  <a16:creationId xmlns:a16="http://schemas.microsoft.com/office/drawing/2014/main" id="{C3E7F9F8-B34D-4AFF-A662-B18BBE6958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8732841" y="132370"/>
              <a:ext cx="285750" cy="285750"/>
            </a:xfrm>
            <a:prstGeom prst="rect">
              <a:avLst/>
            </a:prstGeom>
          </p:spPr>
        </p:pic>
      </p:grpSp>
      <p:grpSp>
        <p:nvGrpSpPr>
          <p:cNvPr id="24" name="Group 23">
            <a:extLst>
              <a:ext uri="{FF2B5EF4-FFF2-40B4-BE49-F238E27FC236}">
                <a16:creationId xmlns:a16="http://schemas.microsoft.com/office/drawing/2014/main" id="{F8D20937-1DE9-40AE-B48E-8E9CB6EC14AA}"/>
              </a:ext>
            </a:extLst>
          </p:cNvPr>
          <p:cNvGrpSpPr/>
          <p:nvPr/>
        </p:nvGrpSpPr>
        <p:grpSpPr>
          <a:xfrm>
            <a:off x="6304136" y="1658066"/>
            <a:ext cx="1991549" cy="4347221"/>
            <a:chOff x="4728102" y="1243549"/>
            <a:chExt cx="1493662" cy="3260416"/>
          </a:xfrm>
        </p:grpSpPr>
        <p:pic>
          <p:nvPicPr>
            <p:cNvPr id="25" name="Picture 9">
              <a:extLst>
                <a:ext uri="{FF2B5EF4-FFF2-40B4-BE49-F238E27FC236}">
                  <a16:creationId xmlns:a16="http://schemas.microsoft.com/office/drawing/2014/main" id="{BA4D06D7-C720-4DC4-9546-2BB44B9DFDD5}"/>
                </a:ext>
              </a:extLst>
            </p:cNvPr>
            <p:cNvPicPr>
              <a:picLocks noChangeAspect="1"/>
            </p:cNvPicPr>
            <p:nvPr/>
          </p:nvPicPr>
          <p:blipFill rotWithShape="1">
            <a:blip r:embed="rId8"/>
            <a:srcRect l="8018" t="5107" r="8383" b="3946"/>
            <a:stretch/>
          </p:blipFill>
          <p:spPr>
            <a:xfrm>
              <a:off x="4728102" y="1243549"/>
              <a:ext cx="1493662" cy="3260416"/>
            </a:xfrm>
            <a:prstGeom prst="roundRect">
              <a:avLst>
                <a:gd name="adj" fmla="val 11667"/>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E27B8793-63F8-4054-9C14-42FE6A7CD954}"/>
                </a:ext>
              </a:extLst>
            </p:cNvPr>
            <p:cNvPicPr>
              <a:picLocks noChangeAspect="1"/>
            </p:cNvPicPr>
            <p:nvPr/>
          </p:nvPicPr>
          <p:blipFill rotWithShape="1">
            <a:blip r:embed="rId9"/>
            <a:srcRect b="17358"/>
            <a:stretch/>
          </p:blipFill>
          <p:spPr>
            <a:xfrm>
              <a:off x="4729714" y="1392238"/>
              <a:ext cx="1490472" cy="2814087"/>
            </a:xfrm>
            <a:prstGeom prst="rect">
              <a:avLst/>
            </a:prstGeom>
          </p:spPr>
        </p:pic>
      </p:grpSp>
      <p:grpSp>
        <p:nvGrpSpPr>
          <p:cNvPr id="27" name="Group 26">
            <a:extLst>
              <a:ext uri="{FF2B5EF4-FFF2-40B4-BE49-F238E27FC236}">
                <a16:creationId xmlns:a16="http://schemas.microsoft.com/office/drawing/2014/main" id="{F69F8624-4778-4CAE-BC76-C8B238C60F18}"/>
              </a:ext>
            </a:extLst>
          </p:cNvPr>
          <p:cNvGrpSpPr/>
          <p:nvPr/>
        </p:nvGrpSpPr>
        <p:grpSpPr>
          <a:xfrm>
            <a:off x="8545915" y="1419345"/>
            <a:ext cx="3288373" cy="4786311"/>
            <a:chOff x="6266561" y="1034718"/>
            <a:chExt cx="2466280" cy="3589733"/>
          </a:xfrm>
        </p:grpSpPr>
        <p:pic>
          <p:nvPicPr>
            <p:cNvPr id="28" name="Picture 5" descr="Iphone X Frame Svg, HD Png Download - kindpng">
              <a:extLst>
                <a:ext uri="{FF2B5EF4-FFF2-40B4-BE49-F238E27FC236}">
                  <a16:creationId xmlns:a16="http://schemas.microsoft.com/office/drawing/2014/main" id="{8978FE7D-100D-467B-8F65-DD054DC5E927}"/>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5272" b="94489" l="10000" r="90000">
                          <a14:foregroundMark x1="17907" y1="10383" x2="30116" y2="3674"/>
                          <a14:foregroundMark x1="30116" y1="3674" x2="48372" y2="3594"/>
                          <a14:foregroundMark x1="48372" y1="3594" x2="78256" y2="5272"/>
                          <a14:foregroundMark x1="78256" y1="5272" x2="82093" y2="15256"/>
                          <a14:foregroundMark x1="23023" y1="7748" x2="24186" y2="7748"/>
                          <a14:foregroundMark x1="22326" y1="7428" x2="52093" y2="41374"/>
                          <a14:foregroundMark x1="65349" y1="27875" x2="46395" y2="51518"/>
                          <a14:foregroundMark x1="46395" y1="51518" x2="43605" y2="41773"/>
                          <a14:foregroundMark x1="43605" y1="41773" x2="53721" y2="32508"/>
                          <a14:foregroundMark x1="53721" y1="32508" x2="39767" y2="40335"/>
                          <a14:foregroundMark x1="39767" y1="40335" x2="42326" y2="41374"/>
                          <a14:foregroundMark x1="48488" y1="23722" x2="66512" y2="39776"/>
                          <a14:foregroundMark x1="66512" y1="39776" x2="56628" y2="72045"/>
                          <a14:foregroundMark x1="56628" y1="72045" x2="39070" y2="69569"/>
                          <a14:foregroundMark x1="39070" y1="69569" x2="38140" y2="26997"/>
                          <a14:foregroundMark x1="38140" y1="26997" x2="42442" y2="21086"/>
                          <a14:foregroundMark x1="23953" y1="5431" x2="45000" y2="4952"/>
                          <a14:foregroundMark x1="45000" y1="4952" x2="77442" y2="7188"/>
                          <a14:foregroundMark x1="77442" y1="7188" x2="82791" y2="85703"/>
                          <a14:foregroundMark x1="82791" y1="85703" x2="76977" y2="94169"/>
                          <a14:foregroundMark x1="76977" y1="94169" x2="30581" y2="94489"/>
                          <a14:foregroundMark x1="30581" y1="94489" x2="19419" y2="87540"/>
                          <a14:foregroundMark x1="19419" y1="87540" x2="20116" y2="7668"/>
                          <a14:foregroundMark x1="20116" y1="7668" x2="25000" y2="5591"/>
                          <a14:backgroundMark x1="6977" y1="10224" x2="3140" y2="74121"/>
                          <a14:backgroundMark x1="14302" y1="2796" x2="43023" y2="399"/>
                          <a14:backgroundMark x1="43023" y1="399" x2="86512" y2="4153"/>
                          <a14:backgroundMark x1="86512" y1="4153" x2="88837" y2="30032"/>
                        </a14:backgroundRemoval>
                      </a14:imgEffect>
                    </a14:imgLayer>
                  </a14:imgProps>
                </a:ext>
                <a:ext uri="{28A0092B-C50C-407E-A947-70E740481C1C}">
                  <a14:useLocalDpi xmlns:a14="http://schemas.microsoft.com/office/drawing/2010/main" val="0"/>
                </a:ext>
              </a:extLst>
            </a:blip>
            <a:srcRect/>
            <a:stretch>
              <a:fillRect/>
            </a:stretch>
          </p:blipFill>
          <p:spPr bwMode="auto">
            <a:xfrm>
              <a:off x="6266561" y="1034718"/>
              <a:ext cx="2466280" cy="358973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F2251E30-9361-4A62-BF4D-EF3834BBD584}"/>
                </a:ext>
              </a:extLst>
            </p:cNvPr>
            <p:cNvPicPr>
              <a:picLocks noChangeAspect="1"/>
            </p:cNvPicPr>
            <p:nvPr/>
          </p:nvPicPr>
          <p:blipFill>
            <a:blip r:embed="rId12"/>
            <a:stretch>
              <a:fillRect/>
            </a:stretch>
          </p:blipFill>
          <p:spPr>
            <a:xfrm>
              <a:off x="6771290" y="1392238"/>
              <a:ext cx="1454869" cy="2993676"/>
            </a:xfrm>
            <a:prstGeom prst="roundRect">
              <a:avLst>
                <a:gd name="adj" fmla="val 6791"/>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336363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89442C8-51DE-46E7-A4EA-4EEBF2F3A28E}"/>
              </a:ext>
            </a:extLst>
          </p:cNvPr>
          <p:cNvSpPr/>
          <p:nvPr/>
        </p:nvSpPr>
        <p:spPr bwMode="auto">
          <a:xfrm>
            <a:off x="4838709" y="0"/>
            <a:ext cx="1350425" cy="6858000"/>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aphicFrame>
        <p:nvGraphicFramePr>
          <p:cNvPr id="36" name="Objekt 35" hidden="1">
            <a:extLst>
              <a:ext uri="{FF2B5EF4-FFF2-40B4-BE49-F238E27FC236}">
                <a16:creationId xmlns:a16="http://schemas.microsoft.com/office/drawing/2014/main" id="{6CA3F929-BB48-4002-B993-42FC2702B6F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36" name="Objekt 35" hidden="1">
                        <a:extLst>
                          <a:ext uri="{FF2B5EF4-FFF2-40B4-BE49-F238E27FC236}">
                            <a16:creationId xmlns:a16="http://schemas.microsoft.com/office/drawing/2014/main" id="{6CA3F929-BB48-4002-B993-42FC2702B6F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3EC440-EF68-4DB5-9289-3F22DBCF2823}"/>
              </a:ext>
            </a:extLst>
          </p:cNvPr>
          <p:cNvSpPr>
            <a:spLocks noGrp="1"/>
          </p:cNvSpPr>
          <p:nvPr>
            <p:ph type="title"/>
          </p:nvPr>
        </p:nvSpPr>
        <p:spPr bwMode="gray">
          <a:xfrm>
            <a:off x="593949" y="341129"/>
            <a:ext cx="3978315" cy="379508"/>
          </a:xfrm>
        </p:spPr>
        <p:txBody>
          <a:bodyPr vert="horz"/>
          <a:lstStyle/>
          <a:p>
            <a:r>
              <a:rPr lang="es-ES" sz="2667" dirty="0"/>
              <a:t>Puntos débiles más frecuentes en la industria</a:t>
            </a:r>
          </a:p>
        </p:txBody>
      </p:sp>
      <p:grpSp>
        <p:nvGrpSpPr>
          <p:cNvPr id="7" name="Gruppieren 6">
            <a:extLst>
              <a:ext uri="{FF2B5EF4-FFF2-40B4-BE49-F238E27FC236}">
                <a16:creationId xmlns:a16="http://schemas.microsoft.com/office/drawing/2014/main" id="{CBFF99E8-4B93-4F04-AD88-D7D382D2DEED}"/>
              </a:ext>
            </a:extLst>
          </p:cNvPr>
          <p:cNvGrpSpPr/>
          <p:nvPr/>
        </p:nvGrpSpPr>
        <p:grpSpPr bwMode="gray">
          <a:xfrm>
            <a:off x="4488546" y="3475320"/>
            <a:ext cx="700325" cy="696554"/>
            <a:chOff x="-151711" y="4830900"/>
            <a:chExt cx="1469089" cy="1461178"/>
          </a:xfrm>
        </p:grpSpPr>
        <p:sp>
          <p:nvSpPr>
            <p:cNvPr id="8" name="Ellipse 7">
              <a:extLst>
                <a:ext uri="{FF2B5EF4-FFF2-40B4-BE49-F238E27FC236}">
                  <a16:creationId xmlns:a16="http://schemas.microsoft.com/office/drawing/2014/main" id="{BA25CD8D-3F74-4397-ACAC-547ED01596DC}"/>
                </a:ext>
              </a:extLst>
            </p:cNvPr>
            <p:cNvSpPr/>
            <p:nvPr/>
          </p:nvSpPr>
          <p:spPr bwMode="gray">
            <a:xfrm>
              <a:off x="-151711" y="4830900"/>
              <a:ext cx="1469089" cy="1461178"/>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en-US" sz="2400" kern="0">
                <a:solidFill>
                  <a:srgbClr val="000000"/>
                </a:solidFill>
                <a:latin typeface="Segoe UI"/>
                <a:ea typeface="Segoe UI"/>
                <a:cs typeface="Segoe UI"/>
                <a:sym typeface="Segoe UI"/>
              </a:endParaRPr>
            </a:p>
          </p:txBody>
        </p:sp>
        <p:grpSp>
          <p:nvGrpSpPr>
            <p:cNvPr id="9" name="Group">
              <a:extLst>
                <a:ext uri="{FF2B5EF4-FFF2-40B4-BE49-F238E27FC236}">
                  <a16:creationId xmlns:a16="http://schemas.microsoft.com/office/drawing/2014/main" id="{D17D4B2F-233F-4F7D-8BDD-95CC9E61592F}"/>
                </a:ext>
              </a:extLst>
            </p:cNvPr>
            <p:cNvGrpSpPr/>
            <p:nvPr/>
          </p:nvGrpSpPr>
          <p:grpSpPr bwMode="gray">
            <a:xfrm>
              <a:off x="23905" y="5006516"/>
              <a:ext cx="1117856" cy="1117856"/>
              <a:chOff x="0" y="0"/>
              <a:chExt cx="818151" cy="818151"/>
            </a:xfrm>
          </p:grpSpPr>
          <p:pic>
            <p:nvPicPr>
              <p:cNvPr id="10" name="Grafik 24" descr="Grafik 24">
                <a:extLst>
                  <a:ext uri="{FF2B5EF4-FFF2-40B4-BE49-F238E27FC236}">
                    <a16:creationId xmlns:a16="http://schemas.microsoft.com/office/drawing/2014/main" id="{86861D66-1D9E-48A7-9A48-FAB090D69C64}"/>
                  </a:ext>
                </a:extLst>
              </p:cNvPr>
              <p:cNvPicPr>
                <a:picLocks noChangeAspect="1"/>
              </p:cNvPicPr>
              <p:nvPr/>
            </p:nvPicPr>
            <p:blipFill>
              <a:blip r:embed="rId5"/>
              <a:stretch>
                <a:fillRect/>
              </a:stretch>
            </p:blipFill>
            <p:spPr bwMode="gray">
              <a:xfrm>
                <a:off x="0" y="0"/>
                <a:ext cx="818152" cy="818152"/>
              </a:xfrm>
              <a:prstGeom prst="rect">
                <a:avLst/>
              </a:prstGeom>
              <a:ln w="12700" cap="flat">
                <a:noFill/>
                <a:miter lim="400000"/>
              </a:ln>
              <a:effectLst/>
            </p:spPr>
          </p:pic>
          <p:pic>
            <p:nvPicPr>
              <p:cNvPr id="11" name="Grafik 34" descr="Grafik 34">
                <a:extLst>
                  <a:ext uri="{FF2B5EF4-FFF2-40B4-BE49-F238E27FC236}">
                    <a16:creationId xmlns:a16="http://schemas.microsoft.com/office/drawing/2014/main" id="{F25584BF-7809-44DC-8ED2-A88A9BFD5DC3}"/>
                  </a:ext>
                </a:extLst>
              </p:cNvPr>
              <p:cNvPicPr>
                <a:picLocks noChangeAspect="1"/>
              </p:cNvPicPr>
              <p:nvPr/>
            </p:nvPicPr>
            <p:blipFill>
              <a:blip r:embed="rId6"/>
              <a:stretch>
                <a:fillRect/>
              </a:stretch>
            </p:blipFill>
            <p:spPr bwMode="gray">
              <a:xfrm>
                <a:off x="208163" y="166827"/>
                <a:ext cx="398541" cy="398541"/>
              </a:xfrm>
              <a:prstGeom prst="rect">
                <a:avLst/>
              </a:prstGeom>
              <a:ln w="12700" cap="flat">
                <a:noFill/>
                <a:miter lim="400000"/>
              </a:ln>
              <a:effectLst/>
            </p:spPr>
          </p:pic>
        </p:grpSp>
      </p:grpSp>
      <p:grpSp>
        <p:nvGrpSpPr>
          <p:cNvPr id="12" name="Gruppieren 11">
            <a:extLst>
              <a:ext uri="{FF2B5EF4-FFF2-40B4-BE49-F238E27FC236}">
                <a16:creationId xmlns:a16="http://schemas.microsoft.com/office/drawing/2014/main" id="{CF950F4D-E94C-4678-883A-CD5A17684F38}"/>
              </a:ext>
            </a:extLst>
          </p:cNvPr>
          <p:cNvGrpSpPr/>
          <p:nvPr/>
        </p:nvGrpSpPr>
        <p:grpSpPr bwMode="gray">
          <a:xfrm>
            <a:off x="4488546" y="5340439"/>
            <a:ext cx="700325" cy="696554"/>
            <a:chOff x="4787996" y="4830900"/>
            <a:chExt cx="1469089" cy="1461178"/>
          </a:xfrm>
        </p:grpSpPr>
        <p:sp>
          <p:nvSpPr>
            <p:cNvPr id="13" name="Ellipse 12">
              <a:extLst>
                <a:ext uri="{FF2B5EF4-FFF2-40B4-BE49-F238E27FC236}">
                  <a16:creationId xmlns:a16="http://schemas.microsoft.com/office/drawing/2014/main" id="{E6ADEB22-A844-4A97-98B1-9D1E5D9CC8F8}"/>
                </a:ext>
              </a:extLst>
            </p:cNvPr>
            <p:cNvSpPr/>
            <p:nvPr/>
          </p:nvSpPr>
          <p:spPr bwMode="gray">
            <a:xfrm>
              <a:off x="4787996" y="4830900"/>
              <a:ext cx="1469089" cy="1461178"/>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en-US" sz="2400" kern="0">
                <a:solidFill>
                  <a:srgbClr val="000000"/>
                </a:solidFill>
                <a:latin typeface="Segoe UI"/>
                <a:ea typeface="Segoe UI"/>
                <a:cs typeface="Segoe UI"/>
                <a:sym typeface="Segoe UI"/>
              </a:endParaRPr>
            </a:p>
          </p:txBody>
        </p:sp>
        <p:pic>
          <p:nvPicPr>
            <p:cNvPr id="14" name="Grafik 13" descr="Kreisdiagramm mit einfarbiger Füllung">
              <a:extLst>
                <a:ext uri="{FF2B5EF4-FFF2-40B4-BE49-F238E27FC236}">
                  <a16:creationId xmlns:a16="http://schemas.microsoft.com/office/drawing/2014/main" id="{81EA9694-FB36-4B25-BC71-13AC28D7B8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065341" y="5126688"/>
              <a:ext cx="914400" cy="914400"/>
            </a:xfrm>
            <a:prstGeom prst="rect">
              <a:avLst/>
            </a:prstGeom>
          </p:spPr>
        </p:pic>
      </p:grpSp>
      <p:grpSp>
        <p:nvGrpSpPr>
          <p:cNvPr id="15" name="Gruppieren 14">
            <a:extLst>
              <a:ext uri="{FF2B5EF4-FFF2-40B4-BE49-F238E27FC236}">
                <a16:creationId xmlns:a16="http://schemas.microsoft.com/office/drawing/2014/main" id="{7D500B01-6314-4257-988F-50DE278AAB5E}"/>
              </a:ext>
            </a:extLst>
          </p:cNvPr>
          <p:cNvGrpSpPr/>
          <p:nvPr/>
        </p:nvGrpSpPr>
        <p:grpSpPr bwMode="gray">
          <a:xfrm>
            <a:off x="4483015" y="4406105"/>
            <a:ext cx="700325" cy="696554"/>
            <a:chOff x="6434564" y="4830900"/>
            <a:chExt cx="1469089" cy="1461178"/>
          </a:xfrm>
        </p:grpSpPr>
        <p:sp>
          <p:nvSpPr>
            <p:cNvPr id="16" name="Ellipse 15">
              <a:extLst>
                <a:ext uri="{FF2B5EF4-FFF2-40B4-BE49-F238E27FC236}">
                  <a16:creationId xmlns:a16="http://schemas.microsoft.com/office/drawing/2014/main" id="{8F6DB657-80B8-4F74-8B21-81B801941867}"/>
                </a:ext>
              </a:extLst>
            </p:cNvPr>
            <p:cNvSpPr/>
            <p:nvPr/>
          </p:nvSpPr>
          <p:spPr bwMode="gray">
            <a:xfrm>
              <a:off x="6434564" y="4830900"/>
              <a:ext cx="1469089" cy="1461178"/>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en-US" sz="2400" kern="0">
                <a:solidFill>
                  <a:srgbClr val="000000"/>
                </a:solidFill>
                <a:latin typeface="Segoe UI"/>
                <a:ea typeface="Segoe UI"/>
                <a:cs typeface="Segoe UI"/>
                <a:sym typeface="Segoe UI"/>
              </a:endParaRPr>
            </a:p>
          </p:txBody>
        </p:sp>
        <p:pic>
          <p:nvPicPr>
            <p:cNvPr id="17" name="Grafik 16" descr="Offene Hand mit Pflanze mit einfarbiger Füllung">
              <a:extLst>
                <a:ext uri="{FF2B5EF4-FFF2-40B4-BE49-F238E27FC236}">
                  <a16:creationId xmlns:a16="http://schemas.microsoft.com/office/drawing/2014/main" id="{E92787D5-51A0-4F48-907A-10B6B30AC0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gray">
            <a:xfrm>
              <a:off x="6665768" y="5062104"/>
              <a:ext cx="1006681" cy="1006681"/>
            </a:xfrm>
            <a:prstGeom prst="rect">
              <a:avLst/>
            </a:prstGeom>
          </p:spPr>
        </p:pic>
      </p:grpSp>
      <p:sp>
        <p:nvSpPr>
          <p:cNvPr id="18" name="Inhaltsplatzhalter 1">
            <a:extLst>
              <a:ext uri="{FF2B5EF4-FFF2-40B4-BE49-F238E27FC236}">
                <a16:creationId xmlns:a16="http://schemas.microsoft.com/office/drawing/2014/main" id="{00187834-3AB0-4E63-8554-EBC5353E9A34}"/>
              </a:ext>
            </a:extLst>
          </p:cNvPr>
          <p:cNvSpPr txBox="1"/>
          <p:nvPr/>
        </p:nvSpPr>
        <p:spPr bwMode="gray">
          <a:xfrm>
            <a:off x="768352" y="1649222"/>
            <a:ext cx="3464981" cy="6310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FFFFFF"/>
                </a:solidFill>
                <a:latin typeface="Segoe UI"/>
                <a:cs typeface="Segoe UI"/>
                <a:sym typeface="Segoe UI"/>
              </a:rPr>
              <a:t>Las fugas pueden provocar </a:t>
            </a:r>
            <a:r>
              <a:rPr lang="es-ES" sz="1333" b="1" kern="0">
                <a:solidFill>
                  <a:srgbClr val="FFFFFF"/>
                </a:solidFill>
                <a:latin typeface="Segoe UI"/>
                <a:cs typeface="Segoe UI"/>
                <a:sym typeface="Segoe UI"/>
              </a:rPr>
              <a:t>paradas no planificadas, con todos los costes que conllevan.</a:t>
            </a:r>
          </a:p>
        </p:txBody>
      </p:sp>
      <p:sp>
        <p:nvSpPr>
          <p:cNvPr id="20" name="Inhaltsplatzhalter 1">
            <a:extLst>
              <a:ext uri="{FF2B5EF4-FFF2-40B4-BE49-F238E27FC236}">
                <a16:creationId xmlns:a16="http://schemas.microsoft.com/office/drawing/2014/main" id="{3502A07F-9C5B-4489-8395-187C6C852EA3}"/>
              </a:ext>
            </a:extLst>
          </p:cNvPr>
          <p:cNvSpPr txBox="1"/>
          <p:nvPr/>
        </p:nvSpPr>
        <p:spPr bwMode="gray">
          <a:xfrm>
            <a:off x="768351" y="3509946"/>
            <a:ext cx="3464981" cy="6310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FFFFFF"/>
                </a:solidFill>
                <a:latin typeface="Segoe UI"/>
                <a:cs typeface="Segoe UI"/>
                <a:sym typeface="Segoe UI"/>
              </a:rPr>
              <a:t>Las fugas que no se detectan pueden provocar </a:t>
            </a:r>
            <a:r>
              <a:rPr lang="es-ES" sz="1333" b="1" kern="0">
                <a:solidFill>
                  <a:srgbClr val="FFFFFF"/>
                </a:solidFill>
                <a:latin typeface="Segoe UI"/>
                <a:cs typeface="Segoe UI"/>
                <a:sym typeface="Segoe UI"/>
              </a:rPr>
              <a:t>fallos catastróficos </a:t>
            </a:r>
            <a:r>
              <a:rPr lang="es-ES" sz="1333" kern="0">
                <a:solidFill>
                  <a:srgbClr val="FFFFFF"/>
                </a:solidFill>
                <a:latin typeface="Segoe UI"/>
                <a:cs typeface="Segoe UI"/>
                <a:sym typeface="Segoe UI"/>
              </a:rPr>
              <a:t>y poner en </a:t>
            </a:r>
            <a:r>
              <a:rPr lang="es-ES" sz="1333" b="1" kern="0">
                <a:solidFill>
                  <a:srgbClr val="FFFFFF"/>
                </a:solidFill>
                <a:latin typeface="Segoe UI"/>
                <a:cs typeface="Segoe UI"/>
                <a:sym typeface="Segoe UI"/>
              </a:rPr>
              <a:t>grave riesgo la seguridad</a:t>
            </a:r>
            <a:r>
              <a:rPr lang="es-ES" sz="1333" kern="0">
                <a:solidFill>
                  <a:srgbClr val="FFFFFF"/>
                </a:solidFill>
                <a:latin typeface="Segoe UI"/>
                <a:cs typeface="Segoe UI"/>
                <a:sym typeface="Segoe UI"/>
              </a:rPr>
              <a:t>.</a:t>
            </a:r>
          </a:p>
        </p:txBody>
      </p:sp>
      <p:sp>
        <p:nvSpPr>
          <p:cNvPr id="21" name="Inhaltsplatzhalter 1">
            <a:extLst>
              <a:ext uri="{FF2B5EF4-FFF2-40B4-BE49-F238E27FC236}">
                <a16:creationId xmlns:a16="http://schemas.microsoft.com/office/drawing/2014/main" id="{A78693FB-CC18-48A2-8E8A-387199D4A7D4}"/>
              </a:ext>
            </a:extLst>
          </p:cNvPr>
          <p:cNvSpPr txBox="1"/>
          <p:nvPr/>
        </p:nvSpPr>
        <p:spPr bwMode="gray">
          <a:xfrm>
            <a:off x="768354" y="2480764"/>
            <a:ext cx="3464981" cy="6310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FFFFFF"/>
                </a:solidFill>
                <a:latin typeface="Segoe UI"/>
                <a:cs typeface="Segoe UI"/>
                <a:sym typeface="Segoe UI"/>
              </a:rPr>
              <a:t>La </a:t>
            </a:r>
            <a:r>
              <a:rPr lang="es-ES" sz="1333" b="1" kern="0">
                <a:solidFill>
                  <a:srgbClr val="FFFFFF"/>
                </a:solidFill>
                <a:latin typeface="Segoe UI"/>
                <a:cs typeface="Segoe UI"/>
                <a:sym typeface="Segoe UI"/>
              </a:rPr>
              <a:t>inspección manual </a:t>
            </a:r>
            <a:r>
              <a:rPr lang="es-ES" sz="1333" kern="0">
                <a:solidFill>
                  <a:srgbClr val="FFFFFF"/>
                </a:solidFill>
                <a:latin typeface="Segoe UI"/>
                <a:cs typeface="Segoe UI"/>
                <a:sym typeface="Segoe UI"/>
              </a:rPr>
              <a:t>y la </a:t>
            </a:r>
            <a:r>
              <a:rPr lang="es-ES" sz="1333" b="1" kern="0">
                <a:solidFill>
                  <a:srgbClr val="FFFFFF"/>
                </a:solidFill>
                <a:latin typeface="Segoe UI"/>
                <a:cs typeface="Segoe UI"/>
                <a:sym typeface="Segoe UI"/>
              </a:rPr>
              <a:t>reparación</a:t>
            </a:r>
            <a:r>
              <a:rPr lang="es-ES" sz="1333" kern="0">
                <a:solidFill>
                  <a:srgbClr val="FFFFFF"/>
                </a:solidFill>
                <a:latin typeface="Segoe UI"/>
                <a:cs typeface="Segoe UI"/>
                <a:sym typeface="Segoe UI"/>
              </a:rPr>
              <a:t> de las bridas más importantes pueden </a:t>
            </a:r>
            <a:r>
              <a:rPr lang="es-ES" sz="1333" b="1" kern="0">
                <a:solidFill>
                  <a:srgbClr val="FFFFFF"/>
                </a:solidFill>
                <a:latin typeface="Segoe UI"/>
                <a:cs typeface="Segoe UI"/>
                <a:sym typeface="Segoe UI"/>
              </a:rPr>
              <a:t>ocasionar elevados costes materiales y de personal</a:t>
            </a:r>
            <a:r>
              <a:rPr lang="es-ES" sz="1333" kern="0">
                <a:solidFill>
                  <a:srgbClr val="FFFFFF"/>
                </a:solidFill>
                <a:latin typeface="Segoe UI"/>
                <a:cs typeface="Segoe UI"/>
                <a:sym typeface="Segoe UI"/>
              </a:rPr>
              <a:t>. </a:t>
            </a:r>
          </a:p>
        </p:txBody>
      </p:sp>
      <p:sp>
        <p:nvSpPr>
          <p:cNvPr id="22" name="Inhaltsplatzhalter 1">
            <a:extLst>
              <a:ext uri="{FF2B5EF4-FFF2-40B4-BE49-F238E27FC236}">
                <a16:creationId xmlns:a16="http://schemas.microsoft.com/office/drawing/2014/main" id="{248A4D78-892B-4819-BE26-758DE70B617D}"/>
              </a:ext>
            </a:extLst>
          </p:cNvPr>
          <p:cNvSpPr txBox="1"/>
          <p:nvPr/>
        </p:nvSpPr>
        <p:spPr bwMode="gray">
          <a:xfrm>
            <a:off x="768352" y="5375065"/>
            <a:ext cx="3464981" cy="6310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b="1" kern="0">
                <a:solidFill>
                  <a:srgbClr val="FFFFFF"/>
                </a:solidFill>
                <a:latin typeface="Segoe UI"/>
                <a:cs typeface="Segoe UI"/>
                <a:sym typeface="Segoe UI"/>
              </a:rPr>
              <a:t>La inspección y documentación manual  </a:t>
            </a:r>
            <a:r>
              <a:rPr lang="es-ES" sz="1333" kern="0">
                <a:solidFill>
                  <a:srgbClr val="FFFFFF"/>
                </a:solidFill>
                <a:latin typeface="Segoe UI"/>
                <a:cs typeface="Segoe UI"/>
                <a:sym typeface="Segoe UI"/>
              </a:rPr>
              <a:t>a veces da lugar a </a:t>
            </a:r>
            <a:r>
              <a:rPr lang="es-ES" sz="1333" b="1" kern="0">
                <a:solidFill>
                  <a:srgbClr val="FFFFFF"/>
                </a:solidFill>
                <a:latin typeface="Segoe UI"/>
                <a:cs typeface="Segoe UI"/>
                <a:sym typeface="Segoe UI"/>
              </a:rPr>
              <a:t>falta de transparencia </a:t>
            </a:r>
            <a:r>
              <a:rPr lang="es-ES" sz="1333" kern="0">
                <a:solidFill>
                  <a:srgbClr val="FFFFFF"/>
                </a:solidFill>
                <a:latin typeface="Segoe UI"/>
                <a:cs typeface="Segoe UI"/>
                <a:sym typeface="Segoe UI"/>
              </a:rPr>
              <a:t>y a puntos débiles que dificultan la optimización.</a:t>
            </a:r>
          </a:p>
        </p:txBody>
      </p:sp>
      <p:sp>
        <p:nvSpPr>
          <p:cNvPr id="23" name="Inhaltsplatzhalter 1">
            <a:extLst>
              <a:ext uri="{FF2B5EF4-FFF2-40B4-BE49-F238E27FC236}">
                <a16:creationId xmlns:a16="http://schemas.microsoft.com/office/drawing/2014/main" id="{3B1E31C5-3DE3-4F31-AEFB-DE02355B1C5E}"/>
              </a:ext>
            </a:extLst>
          </p:cNvPr>
          <p:cNvSpPr txBox="1"/>
          <p:nvPr/>
        </p:nvSpPr>
        <p:spPr bwMode="gray">
          <a:xfrm>
            <a:off x="768351" y="4440732"/>
            <a:ext cx="3464981" cy="6310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FFFFFF"/>
                </a:solidFill>
                <a:latin typeface="Segoe UI"/>
                <a:cs typeface="Segoe UI"/>
                <a:sym typeface="Segoe UI"/>
              </a:rPr>
              <a:t>Las fugas de productos peligrosos pueden causar </a:t>
            </a:r>
            <a:r>
              <a:rPr lang="es-ES" sz="1333" b="1" kern="0">
                <a:solidFill>
                  <a:srgbClr val="FFFFFF"/>
                </a:solidFill>
                <a:latin typeface="Segoe UI"/>
                <a:cs typeface="Segoe UI"/>
                <a:sym typeface="Segoe UI"/>
              </a:rPr>
              <a:t>graves daños ambientales </a:t>
            </a:r>
            <a:r>
              <a:rPr lang="es-ES" sz="1333" kern="0">
                <a:solidFill>
                  <a:srgbClr val="FFFFFF"/>
                </a:solidFill>
                <a:latin typeface="Segoe UI"/>
                <a:cs typeface="Segoe UI"/>
                <a:sym typeface="Segoe UI"/>
              </a:rPr>
              <a:t>y </a:t>
            </a:r>
            <a:r>
              <a:rPr lang="es-ES" sz="1333" b="1" kern="0">
                <a:solidFill>
                  <a:srgbClr val="FFFFFF"/>
                </a:solidFill>
                <a:latin typeface="Segoe UI"/>
                <a:cs typeface="Segoe UI"/>
                <a:sym typeface="Segoe UI"/>
              </a:rPr>
              <a:t>dañar la reputación de la empresa.</a:t>
            </a:r>
          </a:p>
        </p:txBody>
      </p:sp>
      <p:sp>
        <p:nvSpPr>
          <p:cNvPr id="24" name="Inhaltsplatzhalter 1">
            <a:extLst>
              <a:ext uri="{FF2B5EF4-FFF2-40B4-BE49-F238E27FC236}">
                <a16:creationId xmlns:a16="http://schemas.microsoft.com/office/drawing/2014/main" id="{85A9D756-0120-4905-A27C-D96DD839717F}"/>
              </a:ext>
            </a:extLst>
          </p:cNvPr>
          <p:cNvSpPr txBox="1"/>
          <p:nvPr/>
        </p:nvSpPr>
        <p:spPr bwMode="gray">
          <a:xfrm>
            <a:off x="5500867" y="3315953"/>
            <a:ext cx="6373976" cy="10190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000000"/>
                </a:solidFill>
                <a:latin typeface="Segoe UI"/>
                <a:cs typeface="Segoe UI"/>
                <a:sym typeface="Segoe UI"/>
              </a:rPr>
              <a:t>La </a:t>
            </a:r>
            <a:r>
              <a:rPr lang="es-ES" sz="1333" b="1" kern="0">
                <a:solidFill>
                  <a:srgbClr val="000000"/>
                </a:solidFill>
                <a:latin typeface="Segoe UI"/>
                <a:cs typeface="Segoe UI"/>
                <a:sym typeface="Segoe UI"/>
              </a:rPr>
              <a:t>detección precoz </a:t>
            </a:r>
            <a:r>
              <a:rPr lang="es-ES" sz="1333" kern="0">
                <a:solidFill>
                  <a:srgbClr val="000000"/>
                </a:solidFill>
                <a:latin typeface="Segoe UI"/>
                <a:cs typeface="Segoe UI"/>
                <a:sym typeface="Segoe UI"/>
              </a:rPr>
              <a:t>de las fugas puede prevenir fallos catastróficos y </a:t>
            </a:r>
            <a:r>
              <a:rPr lang="es-ES" sz="1867" b="1" kern="0">
                <a:solidFill>
                  <a:srgbClr val="00AA75">
                    <a:lumMod val="75000"/>
                  </a:srgbClr>
                </a:solidFill>
                <a:latin typeface="Segoe UI"/>
                <a:cs typeface="Segoe UI"/>
                <a:sym typeface="Segoe UI"/>
              </a:rPr>
              <a:t>aumentar la seguridad de la planta</a:t>
            </a:r>
            <a:r>
              <a:rPr lang="es-ES" sz="1333" kern="0">
                <a:solidFill>
                  <a:srgbClr val="000000"/>
                </a:solidFill>
                <a:latin typeface="Segoe UI"/>
                <a:cs typeface="Segoe UI"/>
                <a:sym typeface="Segoe UI"/>
              </a:rPr>
              <a:t> de producción. Además, </a:t>
            </a:r>
            <a:r>
              <a:rPr lang="es-ES" sz="1333" b="1" kern="0">
                <a:solidFill>
                  <a:srgbClr val="000000"/>
                </a:solidFill>
                <a:latin typeface="Segoe UI"/>
                <a:cs typeface="Segoe UI"/>
                <a:sym typeface="Segoe UI"/>
              </a:rPr>
              <a:t>los riesgos asociados con las inspecciones de Salud, Seguridad y Medio Ambiente y/o las reparaciones se pueden reducir</a:t>
            </a:r>
            <a:r>
              <a:rPr lang="es-ES" sz="1333" kern="0">
                <a:solidFill>
                  <a:srgbClr val="000000"/>
                </a:solidFill>
                <a:latin typeface="Segoe UI"/>
                <a:cs typeface="Segoe UI"/>
                <a:sym typeface="Segoe UI"/>
              </a:rPr>
              <a:t>.</a:t>
            </a:r>
          </a:p>
        </p:txBody>
      </p:sp>
      <p:sp>
        <p:nvSpPr>
          <p:cNvPr id="25" name="Inhaltsplatzhalter 1">
            <a:extLst>
              <a:ext uri="{FF2B5EF4-FFF2-40B4-BE49-F238E27FC236}">
                <a16:creationId xmlns:a16="http://schemas.microsoft.com/office/drawing/2014/main" id="{29ADE198-C1CC-4754-98C7-E51ABF2AEC55}"/>
              </a:ext>
            </a:extLst>
          </p:cNvPr>
          <p:cNvSpPr txBox="1"/>
          <p:nvPr/>
        </p:nvSpPr>
        <p:spPr bwMode="gray">
          <a:xfrm>
            <a:off x="5451543" y="1631716"/>
            <a:ext cx="6423300" cy="495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000000"/>
                </a:solidFill>
                <a:latin typeface="Segoe UI"/>
                <a:cs typeface="Segoe UI"/>
                <a:sym typeface="Segoe UI"/>
              </a:rPr>
              <a:t>Al </a:t>
            </a:r>
            <a:r>
              <a:rPr lang="es-ES" sz="1333" b="1" kern="0">
                <a:solidFill>
                  <a:srgbClr val="000000"/>
                </a:solidFill>
                <a:latin typeface="Segoe UI"/>
                <a:cs typeface="Segoe UI"/>
                <a:sym typeface="Segoe UI"/>
              </a:rPr>
              <a:t>detectar las fugas antes de que el fluido escape</a:t>
            </a:r>
            <a:r>
              <a:rPr lang="es-ES" sz="1333" kern="0">
                <a:solidFill>
                  <a:srgbClr val="000000"/>
                </a:solidFill>
                <a:latin typeface="Segoe UI"/>
                <a:cs typeface="Segoe UI"/>
                <a:sym typeface="Segoe UI"/>
              </a:rPr>
              <a:t>, se pueden planificar las reparaciones, y </a:t>
            </a:r>
            <a:r>
              <a:rPr lang="es-ES" sz="1867" b="1" kern="0">
                <a:solidFill>
                  <a:srgbClr val="00AA75">
                    <a:lumMod val="75000"/>
                  </a:srgbClr>
                </a:solidFill>
                <a:latin typeface="Segoe UI"/>
                <a:cs typeface="Segoe UI"/>
                <a:sym typeface="Segoe UI"/>
              </a:rPr>
              <a:t>reducir las paradas no planificadas</a:t>
            </a:r>
            <a:r>
              <a:rPr lang="es-ES" sz="1333" kern="0">
                <a:solidFill>
                  <a:srgbClr val="000000"/>
                </a:solidFill>
                <a:latin typeface="Segoe UI"/>
                <a:cs typeface="Segoe UI"/>
                <a:sym typeface="Segoe UI"/>
              </a:rPr>
              <a:t>.</a:t>
            </a:r>
          </a:p>
        </p:txBody>
      </p:sp>
      <p:sp>
        <p:nvSpPr>
          <p:cNvPr id="26" name="Inhaltsplatzhalter 1">
            <a:extLst>
              <a:ext uri="{FF2B5EF4-FFF2-40B4-BE49-F238E27FC236}">
                <a16:creationId xmlns:a16="http://schemas.microsoft.com/office/drawing/2014/main" id="{06AE6F38-8C46-4931-B1C7-8330C4AB80E4}"/>
              </a:ext>
            </a:extLst>
          </p:cNvPr>
          <p:cNvSpPr txBox="1"/>
          <p:nvPr/>
        </p:nvSpPr>
        <p:spPr bwMode="gray">
          <a:xfrm>
            <a:off x="5500867" y="2394458"/>
            <a:ext cx="6373979" cy="80368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000000"/>
                </a:solidFill>
                <a:latin typeface="Segoe UI"/>
                <a:cs typeface="Segoe UI"/>
                <a:sym typeface="Segoe UI"/>
              </a:rPr>
              <a:t>El control continuo </a:t>
            </a:r>
            <a:r>
              <a:rPr lang="es-ES" sz="1867" b="1" kern="0">
                <a:solidFill>
                  <a:srgbClr val="00AA75">
                    <a:lumMod val="75000"/>
                  </a:srgbClr>
                </a:solidFill>
                <a:latin typeface="Segoe UI"/>
                <a:cs typeface="Segoe UI"/>
                <a:sym typeface="Segoe UI"/>
              </a:rPr>
              <a:t>reduce la necesidad de realizar inspecciones manuales </a:t>
            </a:r>
            <a:r>
              <a:rPr lang="es-ES" sz="1333" kern="0">
                <a:solidFill>
                  <a:srgbClr val="000000"/>
                </a:solidFill>
                <a:latin typeface="Segoe UI"/>
                <a:cs typeface="Segoe UI"/>
                <a:sym typeface="Segoe UI"/>
              </a:rPr>
              <a:t>de las bridas más importantes. Además, los </a:t>
            </a:r>
            <a:r>
              <a:rPr lang="es-ES" sz="1333" b="1" kern="0">
                <a:solidFill>
                  <a:srgbClr val="000000"/>
                </a:solidFill>
                <a:latin typeface="Segoe UI"/>
                <a:cs typeface="Segoe UI"/>
                <a:sym typeface="Segoe UI"/>
              </a:rPr>
              <a:t>costes de las reparaciones </a:t>
            </a:r>
            <a:r>
              <a:rPr lang="es-ES" sz="1333" kern="0">
                <a:solidFill>
                  <a:srgbClr val="000000"/>
                </a:solidFill>
                <a:latin typeface="Segoe UI"/>
                <a:cs typeface="Segoe UI"/>
                <a:sym typeface="Segoe UI"/>
              </a:rPr>
              <a:t>se pueden </a:t>
            </a:r>
            <a:r>
              <a:rPr lang="es-ES" sz="1333" b="1" kern="0">
                <a:solidFill>
                  <a:srgbClr val="000000"/>
                </a:solidFill>
                <a:latin typeface="Segoe UI"/>
                <a:cs typeface="Segoe UI"/>
                <a:sym typeface="Segoe UI"/>
              </a:rPr>
              <a:t>reducir significativamente planificándolas de antemano</a:t>
            </a:r>
            <a:r>
              <a:rPr lang="es-ES" sz="1333" kern="0">
                <a:solidFill>
                  <a:srgbClr val="000000"/>
                </a:solidFill>
                <a:latin typeface="Segoe UI"/>
                <a:cs typeface="Segoe UI"/>
                <a:sym typeface="Segoe UI"/>
              </a:rPr>
              <a:t>.</a:t>
            </a:r>
          </a:p>
        </p:txBody>
      </p:sp>
      <p:sp>
        <p:nvSpPr>
          <p:cNvPr id="27" name="Inhaltsplatzhalter 1">
            <a:extLst>
              <a:ext uri="{FF2B5EF4-FFF2-40B4-BE49-F238E27FC236}">
                <a16:creationId xmlns:a16="http://schemas.microsoft.com/office/drawing/2014/main" id="{E98C138A-DBC6-4D3B-AB90-26AC9A97F181}"/>
              </a:ext>
            </a:extLst>
          </p:cNvPr>
          <p:cNvSpPr txBox="1"/>
          <p:nvPr/>
        </p:nvSpPr>
        <p:spPr bwMode="gray">
          <a:xfrm>
            <a:off x="5500867" y="5439687"/>
            <a:ext cx="6423299" cy="495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kern="0">
                <a:solidFill>
                  <a:srgbClr val="000000"/>
                </a:solidFill>
                <a:latin typeface="Segoe UI"/>
                <a:cs typeface="Segoe UI"/>
                <a:sym typeface="Segoe UI"/>
              </a:rPr>
              <a:t>La </a:t>
            </a:r>
            <a:r>
              <a:rPr lang="es-ES" sz="1333" b="1" kern="0">
                <a:solidFill>
                  <a:srgbClr val="000000"/>
                </a:solidFill>
                <a:latin typeface="Segoe UI"/>
                <a:cs typeface="Segoe UI"/>
                <a:sym typeface="Segoe UI"/>
              </a:rPr>
              <a:t>continua documentación digital </a:t>
            </a:r>
            <a:r>
              <a:rPr lang="es-ES" sz="1333" kern="0">
                <a:solidFill>
                  <a:srgbClr val="000000"/>
                </a:solidFill>
                <a:latin typeface="Segoe UI"/>
                <a:cs typeface="Segoe UI"/>
                <a:sym typeface="Segoe UI"/>
              </a:rPr>
              <a:t>del estado de los dispositivos y su accesibilidad </a:t>
            </a:r>
            <a:r>
              <a:rPr lang="es-ES" sz="1867" b="1" kern="0">
                <a:solidFill>
                  <a:srgbClr val="00AA75">
                    <a:lumMod val="75000"/>
                  </a:srgbClr>
                </a:solidFill>
                <a:latin typeface="Segoe UI"/>
                <a:cs typeface="Segoe UI"/>
                <a:sym typeface="Segoe UI"/>
              </a:rPr>
              <a:t>aumenta la transparencia </a:t>
            </a:r>
            <a:r>
              <a:rPr lang="es-ES" sz="1333" kern="0">
                <a:solidFill>
                  <a:srgbClr val="000000"/>
                </a:solidFill>
                <a:latin typeface="Segoe UI"/>
                <a:cs typeface="Segoe UI"/>
                <a:sym typeface="Segoe UI"/>
              </a:rPr>
              <a:t>y </a:t>
            </a:r>
            <a:r>
              <a:rPr lang="es-ES" sz="1333" b="1" kern="0">
                <a:solidFill>
                  <a:srgbClr val="000000"/>
                </a:solidFill>
                <a:latin typeface="Segoe UI"/>
                <a:cs typeface="Segoe UI"/>
                <a:sym typeface="Segoe UI"/>
              </a:rPr>
              <a:t>expone los aspectos de mejora</a:t>
            </a:r>
            <a:r>
              <a:rPr lang="es-ES" sz="1333" kern="0">
                <a:solidFill>
                  <a:srgbClr val="000000"/>
                </a:solidFill>
                <a:latin typeface="Segoe UI"/>
                <a:cs typeface="Segoe UI"/>
                <a:sym typeface="Segoe UI"/>
              </a:rPr>
              <a:t>.</a:t>
            </a:r>
          </a:p>
        </p:txBody>
      </p:sp>
      <p:sp>
        <p:nvSpPr>
          <p:cNvPr id="28" name="Inhaltsplatzhalter 1">
            <a:extLst>
              <a:ext uri="{FF2B5EF4-FFF2-40B4-BE49-F238E27FC236}">
                <a16:creationId xmlns:a16="http://schemas.microsoft.com/office/drawing/2014/main" id="{7EABFA82-AAF4-4C87-85D4-F105503BEFDA}"/>
              </a:ext>
            </a:extLst>
          </p:cNvPr>
          <p:cNvSpPr txBox="1"/>
          <p:nvPr/>
        </p:nvSpPr>
        <p:spPr bwMode="gray">
          <a:xfrm>
            <a:off x="5500865" y="4460708"/>
            <a:ext cx="6373976" cy="58214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1219140" hangingPunct="0">
              <a:lnSpc>
                <a:spcPct val="104999"/>
              </a:lnSpc>
              <a:spcBef>
                <a:spcPts val="1600"/>
              </a:spcBef>
              <a:defRPr sz="900">
                <a:solidFill>
                  <a:srgbClr val="FFFFFF"/>
                </a:solidFill>
              </a:defRPr>
            </a:pPr>
            <a:r>
              <a:rPr lang="es-ES" sz="1333" b="1" kern="0">
                <a:solidFill>
                  <a:srgbClr val="000000"/>
                </a:solidFill>
                <a:latin typeface="Segoe UI"/>
                <a:cs typeface="Segoe UI"/>
                <a:sym typeface="Segoe UI"/>
              </a:rPr>
              <a:t>Se evitan fugas de productos peligrosos al medio ambiente</a:t>
            </a:r>
            <a:r>
              <a:rPr lang="es-ES" sz="1333" kern="0">
                <a:solidFill>
                  <a:srgbClr val="000000"/>
                </a:solidFill>
                <a:latin typeface="Segoe UI"/>
                <a:cs typeface="Segoe UI"/>
                <a:sym typeface="Segoe UI"/>
              </a:rPr>
              <a:t>, </a:t>
            </a:r>
            <a:r>
              <a:rPr lang="es-ES" sz="1867" b="1" kern="0">
                <a:solidFill>
                  <a:srgbClr val="00AA75">
                    <a:lumMod val="75000"/>
                  </a:srgbClr>
                </a:solidFill>
                <a:latin typeface="Segoe UI"/>
                <a:cs typeface="Segoe UI"/>
                <a:sym typeface="Segoe UI"/>
              </a:rPr>
              <a:t>aumentando la sostenibilidad</a:t>
            </a:r>
            <a:r>
              <a:rPr lang="es-ES" sz="1333" kern="0">
                <a:solidFill>
                  <a:srgbClr val="000000"/>
                </a:solidFill>
                <a:latin typeface="Segoe UI"/>
                <a:cs typeface="Segoe UI"/>
                <a:sym typeface="Segoe UI"/>
              </a:rPr>
              <a:t> y </a:t>
            </a:r>
            <a:r>
              <a:rPr lang="es-ES" sz="1333" b="1" kern="0">
                <a:solidFill>
                  <a:srgbClr val="000000"/>
                </a:solidFill>
                <a:latin typeface="Segoe UI"/>
                <a:cs typeface="Segoe UI"/>
                <a:sym typeface="Segoe UI"/>
              </a:rPr>
              <a:t>protegiendo la reputación</a:t>
            </a:r>
            <a:r>
              <a:rPr lang="es-ES" sz="1333" kern="0">
                <a:solidFill>
                  <a:srgbClr val="000000"/>
                </a:solidFill>
                <a:latin typeface="Segoe UI"/>
                <a:cs typeface="Segoe UI"/>
                <a:sym typeface="Segoe UI"/>
              </a:rPr>
              <a:t>.</a:t>
            </a:r>
          </a:p>
        </p:txBody>
      </p:sp>
      <p:grpSp>
        <p:nvGrpSpPr>
          <p:cNvPr id="39" name="Gruppieren 38">
            <a:extLst>
              <a:ext uri="{FF2B5EF4-FFF2-40B4-BE49-F238E27FC236}">
                <a16:creationId xmlns:a16="http://schemas.microsoft.com/office/drawing/2014/main" id="{5475B95E-2D92-420E-926C-5317220A8CC2}"/>
              </a:ext>
            </a:extLst>
          </p:cNvPr>
          <p:cNvGrpSpPr/>
          <p:nvPr/>
        </p:nvGrpSpPr>
        <p:grpSpPr bwMode="gray">
          <a:xfrm>
            <a:off x="4481774" y="1593746"/>
            <a:ext cx="700325" cy="696554"/>
            <a:chOff x="4309920" y="1224767"/>
            <a:chExt cx="525244" cy="522416"/>
          </a:xfrm>
        </p:grpSpPr>
        <p:sp>
          <p:nvSpPr>
            <p:cNvPr id="6" name="Ellipse 5">
              <a:extLst>
                <a:ext uri="{FF2B5EF4-FFF2-40B4-BE49-F238E27FC236}">
                  <a16:creationId xmlns:a16="http://schemas.microsoft.com/office/drawing/2014/main" id="{F1E98F1D-58B3-49BB-89EA-EFD4241F9B5C}"/>
                </a:ext>
              </a:extLst>
            </p:cNvPr>
            <p:cNvSpPr/>
            <p:nvPr/>
          </p:nvSpPr>
          <p:spPr bwMode="gray">
            <a:xfrm>
              <a:off x="4309920" y="1224767"/>
              <a:ext cx="525244" cy="522416"/>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en-US" sz="2400" kern="0">
                <a:solidFill>
                  <a:srgbClr val="000000"/>
                </a:solidFill>
                <a:latin typeface="Segoe UI"/>
                <a:ea typeface="Segoe UI"/>
                <a:cs typeface="Segoe UI"/>
                <a:sym typeface="Segoe UI"/>
              </a:endParaRPr>
            </a:p>
          </p:txBody>
        </p:sp>
        <p:pic>
          <p:nvPicPr>
            <p:cNvPr id="29" name="Grafik 28" descr="Stoppuhr 75% mit einfarbiger Füllung">
              <a:extLst>
                <a:ext uri="{FF2B5EF4-FFF2-40B4-BE49-F238E27FC236}">
                  <a16:creationId xmlns:a16="http://schemas.microsoft.com/office/drawing/2014/main" id="{134263FB-083B-49BF-A8B4-591451B68F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gray">
            <a:xfrm>
              <a:off x="4393234" y="1316473"/>
              <a:ext cx="357531" cy="357531"/>
            </a:xfrm>
            <a:prstGeom prst="rect">
              <a:avLst/>
            </a:prstGeom>
          </p:spPr>
        </p:pic>
      </p:grpSp>
      <p:grpSp>
        <p:nvGrpSpPr>
          <p:cNvPr id="30" name="Gruppieren 29">
            <a:extLst>
              <a:ext uri="{FF2B5EF4-FFF2-40B4-BE49-F238E27FC236}">
                <a16:creationId xmlns:a16="http://schemas.microsoft.com/office/drawing/2014/main" id="{2F2B0DBE-832D-4A85-9FBC-0BFA303B1B45}"/>
              </a:ext>
            </a:extLst>
          </p:cNvPr>
          <p:cNvGrpSpPr/>
          <p:nvPr/>
        </p:nvGrpSpPr>
        <p:grpSpPr bwMode="gray">
          <a:xfrm>
            <a:off x="4480469" y="2445483"/>
            <a:ext cx="701631" cy="701631"/>
            <a:chOff x="3944202" y="2949821"/>
            <a:chExt cx="1255596" cy="1255596"/>
          </a:xfrm>
        </p:grpSpPr>
        <p:sp>
          <p:nvSpPr>
            <p:cNvPr id="31" name="Ellipse 30">
              <a:extLst>
                <a:ext uri="{FF2B5EF4-FFF2-40B4-BE49-F238E27FC236}">
                  <a16:creationId xmlns:a16="http://schemas.microsoft.com/office/drawing/2014/main" id="{B7F2ADFA-5C64-4A20-9465-B4046223F198}"/>
                </a:ext>
              </a:extLst>
            </p:cNvPr>
            <p:cNvSpPr/>
            <p:nvPr/>
          </p:nvSpPr>
          <p:spPr bwMode="gray">
            <a:xfrm>
              <a:off x="3944202" y="2949821"/>
              <a:ext cx="1255596" cy="1255596"/>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grpSp>
          <p:nvGrpSpPr>
            <p:cNvPr id="32" name="Gruppieren 31">
              <a:extLst>
                <a:ext uri="{FF2B5EF4-FFF2-40B4-BE49-F238E27FC236}">
                  <a16:creationId xmlns:a16="http://schemas.microsoft.com/office/drawing/2014/main" id="{E54903CE-E3D4-45C1-BD53-B0CA2FA0CAD1}"/>
                </a:ext>
              </a:extLst>
            </p:cNvPr>
            <p:cNvGrpSpPr/>
            <p:nvPr/>
          </p:nvGrpSpPr>
          <p:grpSpPr bwMode="gray">
            <a:xfrm>
              <a:off x="4014842" y="3057158"/>
              <a:ext cx="997547" cy="997547"/>
              <a:chOff x="5440494" y="-1667186"/>
              <a:chExt cx="914400" cy="914400"/>
            </a:xfrm>
            <a:solidFill>
              <a:schemeClr val="bg1"/>
            </a:solidFill>
          </p:grpSpPr>
          <p:pic>
            <p:nvPicPr>
              <p:cNvPr id="33" name="Grafik 32" descr="Zahnräder mit einfarbiger Füllung">
                <a:extLst>
                  <a:ext uri="{FF2B5EF4-FFF2-40B4-BE49-F238E27FC236}">
                    <a16:creationId xmlns:a16="http://schemas.microsoft.com/office/drawing/2014/main" id="{EB4EB210-92D4-44C2-8044-D00234146A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gray">
              <a:xfrm>
                <a:off x="5440494" y="-1667186"/>
                <a:ext cx="914400" cy="914400"/>
              </a:xfrm>
              <a:prstGeom prst="rect">
                <a:avLst/>
              </a:prstGeom>
            </p:spPr>
          </p:pic>
          <p:pic>
            <p:nvPicPr>
              <p:cNvPr id="34" name="Grafik 33" descr="Lupe mit einfarbiger Füllung">
                <a:extLst>
                  <a:ext uri="{FF2B5EF4-FFF2-40B4-BE49-F238E27FC236}">
                    <a16:creationId xmlns:a16="http://schemas.microsoft.com/office/drawing/2014/main" id="{674CB9CA-34C1-4AB0-887C-B75C8B88E32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gray">
              <a:xfrm>
                <a:off x="5614670" y="-1497590"/>
                <a:ext cx="733296" cy="733296"/>
              </a:xfrm>
              <a:prstGeom prst="rect">
                <a:avLst/>
              </a:prstGeom>
            </p:spPr>
          </p:pic>
        </p:grpSp>
      </p:grpSp>
      <p:sp>
        <p:nvSpPr>
          <p:cNvPr id="38" name="Titel 1">
            <a:extLst>
              <a:ext uri="{FF2B5EF4-FFF2-40B4-BE49-F238E27FC236}">
                <a16:creationId xmlns:a16="http://schemas.microsoft.com/office/drawing/2014/main" id="{4C88664A-1031-4077-9E52-66DDE0AC2A2B}"/>
              </a:ext>
            </a:extLst>
          </p:cNvPr>
          <p:cNvSpPr txBox="1">
            <a:spLocks/>
          </p:cNvSpPr>
          <p:nvPr/>
        </p:nvSpPr>
        <p:spPr bwMode="gray">
          <a:xfrm>
            <a:off x="5056659" y="341129"/>
            <a:ext cx="2248581" cy="379508"/>
          </a:xfrm>
          <a:prstGeom prst="rect">
            <a:avLst/>
          </a:prstGeom>
          <a:ln w="12700">
            <a:miter lim="400000"/>
          </a:ln>
        </p:spPr>
        <p:txBody>
          <a:bodyPr vert="horz" wrap="square" lIns="0" tIns="0" rIns="0" bIns="0">
            <a:noAutofit/>
          </a:bodyPr>
          <a:lstStyle>
            <a:lvl1pPr algn="l" rtl="0" eaLnBrk="1" fontAlgn="base" hangingPunct="1">
              <a:lnSpc>
                <a:spcPct val="85000"/>
              </a:lnSpc>
              <a:spcBef>
                <a:spcPct val="0"/>
              </a:spcBef>
              <a:spcAft>
                <a:spcPct val="0"/>
              </a:spcAft>
              <a:defRPr kumimoji="0" lang="en-US" sz="2600" b="1" i="0" u="none" strike="noStrike" kern="1200" cap="all" spc="0" normalizeH="0" baseline="0" noProof="0">
                <a:ln>
                  <a:noFill/>
                </a:ln>
                <a:solidFill>
                  <a:schemeClr val="bg1"/>
                </a:solidFill>
                <a:effectLst/>
                <a:uFillTx/>
                <a:latin typeface="Segoe UI"/>
                <a:ea typeface="+mj-ea"/>
                <a:cs typeface="Segoe UI"/>
              </a:defRPr>
            </a:lvl1pPr>
            <a:lvl2pPr algn="l" rtl="0" eaLnBrk="1" fontAlgn="base" hangingPunct="1">
              <a:lnSpc>
                <a:spcPct val="95000"/>
              </a:lnSpc>
              <a:spcBef>
                <a:spcPct val="0"/>
              </a:spcBef>
              <a:spcAft>
                <a:spcPct val="0"/>
              </a:spcAft>
              <a:defRPr sz="1999" b="1">
                <a:solidFill>
                  <a:schemeClr val="tx2"/>
                </a:solidFill>
                <a:latin typeface="Calibri" charset="0"/>
                <a:cs typeface="Calibri" charset="0"/>
              </a:defRPr>
            </a:lvl2pPr>
            <a:lvl3pPr algn="l" rtl="0" eaLnBrk="1" fontAlgn="base" hangingPunct="1">
              <a:lnSpc>
                <a:spcPct val="95000"/>
              </a:lnSpc>
              <a:spcBef>
                <a:spcPct val="0"/>
              </a:spcBef>
              <a:spcAft>
                <a:spcPct val="0"/>
              </a:spcAft>
              <a:defRPr sz="1999" b="1">
                <a:solidFill>
                  <a:schemeClr val="tx2"/>
                </a:solidFill>
                <a:latin typeface="Calibri" charset="0"/>
                <a:cs typeface="Calibri" charset="0"/>
              </a:defRPr>
            </a:lvl3pPr>
            <a:lvl4pPr algn="l" rtl="0" eaLnBrk="1" fontAlgn="base" hangingPunct="1">
              <a:lnSpc>
                <a:spcPct val="95000"/>
              </a:lnSpc>
              <a:spcBef>
                <a:spcPct val="0"/>
              </a:spcBef>
              <a:spcAft>
                <a:spcPct val="0"/>
              </a:spcAft>
              <a:defRPr sz="1999" b="1">
                <a:solidFill>
                  <a:schemeClr val="tx2"/>
                </a:solidFill>
                <a:latin typeface="Calibri" charset="0"/>
                <a:cs typeface="Calibri" charset="0"/>
              </a:defRPr>
            </a:lvl4pPr>
            <a:lvl5pPr algn="l" rtl="0" eaLnBrk="1" fontAlgn="base" hangingPunct="1">
              <a:lnSpc>
                <a:spcPct val="95000"/>
              </a:lnSpc>
              <a:spcBef>
                <a:spcPct val="0"/>
              </a:spcBef>
              <a:spcAft>
                <a:spcPct val="0"/>
              </a:spcAft>
              <a:defRPr sz="1999" b="1">
                <a:solidFill>
                  <a:schemeClr val="tx2"/>
                </a:solidFill>
                <a:latin typeface="Calibri" charset="0"/>
                <a:cs typeface="Calibri" charset="0"/>
              </a:defRPr>
            </a:lvl5pPr>
            <a:lvl6pPr marL="457063" algn="l" rtl="0" eaLnBrk="1" fontAlgn="base" hangingPunct="1">
              <a:lnSpc>
                <a:spcPct val="95000"/>
              </a:lnSpc>
              <a:spcBef>
                <a:spcPct val="0"/>
              </a:spcBef>
              <a:spcAft>
                <a:spcPct val="0"/>
              </a:spcAft>
              <a:defRPr sz="1999" b="1">
                <a:solidFill>
                  <a:schemeClr val="tx2"/>
                </a:solidFill>
                <a:latin typeface="Calibri" charset="0"/>
                <a:cs typeface="Calibri" charset="0"/>
              </a:defRPr>
            </a:lvl6pPr>
            <a:lvl7pPr marL="914126" algn="l" rtl="0" eaLnBrk="1" fontAlgn="base" hangingPunct="1">
              <a:lnSpc>
                <a:spcPct val="95000"/>
              </a:lnSpc>
              <a:spcBef>
                <a:spcPct val="0"/>
              </a:spcBef>
              <a:spcAft>
                <a:spcPct val="0"/>
              </a:spcAft>
              <a:defRPr sz="1999" b="1">
                <a:solidFill>
                  <a:schemeClr val="tx2"/>
                </a:solidFill>
                <a:latin typeface="Calibri" charset="0"/>
                <a:cs typeface="Calibri" charset="0"/>
              </a:defRPr>
            </a:lvl7pPr>
            <a:lvl8pPr marL="1371189" algn="l" rtl="0" eaLnBrk="1" fontAlgn="base" hangingPunct="1">
              <a:lnSpc>
                <a:spcPct val="95000"/>
              </a:lnSpc>
              <a:spcBef>
                <a:spcPct val="0"/>
              </a:spcBef>
              <a:spcAft>
                <a:spcPct val="0"/>
              </a:spcAft>
              <a:defRPr sz="1999" b="1">
                <a:solidFill>
                  <a:schemeClr val="tx2"/>
                </a:solidFill>
                <a:latin typeface="Calibri" charset="0"/>
                <a:cs typeface="Calibri" charset="0"/>
              </a:defRPr>
            </a:lvl8pPr>
            <a:lvl9pPr marL="1828251" algn="l" rtl="0" eaLnBrk="1" fontAlgn="base" hangingPunct="1">
              <a:lnSpc>
                <a:spcPct val="95000"/>
              </a:lnSpc>
              <a:spcBef>
                <a:spcPct val="0"/>
              </a:spcBef>
              <a:spcAft>
                <a:spcPct val="0"/>
              </a:spcAft>
              <a:defRPr sz="1999" b="1">
                <a:solidFill>
                  <a:schemeClr val="tx2"/>
                </a:solidFill>
                <a:latin typeface="Calibri" charset="0"/>
                <a:cs typeface="Calibri" charset="0"/>
              </a:defRPr>
            </a:lvl9pPr>
          </a:lstStyle>
          <a:p>
            <a:pPr defTabSz="1219170"/>
            <a:r>
              <a:rPr lang="es-ES" sz="2667">
                <a:solidFill>
                  <a:srgbClr val="E1000F"/>
                </a:solidFill>
                <a:sym typeface="Segoe UI"/>
              </a:rPr>
              <a:t>Ventajas de</a:t>
            </a:r>
          </a:p>
        </p:txBody>
      </p:sp>
      <p:grpSp>
        <p:nvGrpSpPr>
          <p:cNvPr id="46" name="Gruppieren 45">
            <a:extLst>
              <a:ext uri="{FF2B5EF4-FFF2-40B4-BE49-F238E27FC236}">
                <a16:creationId xmlns:a16="http://schemas.microsoft.com/office/drawing/2014/main" id="{E45307B0-D7EE-468E-BDBC-10B7760DE9A5}"/>
              </a:ext>
            </a:extLst>
          </p:cNvPr>
          <p:cNvGrpSpPr/>
          <p:nvPr/>
        </p:nvGrpSpPr>
        <p:grpSpPr bwMode="gray">
          <a:xfrm>
            <a:off x="11513526" y="-785875"/>
            <a:ext cx="547663" cy="683491"/>
            <a:chOff x="8673244" y="121794"/>
            <a:chExt cx="410747" cy="512618"/>
          </a:xfrm>
        </p:grpSpPr>
        <p:grpSp>
          <p:nvGrpSpPr>
            <p:cNvPr id="47" name="Gruppieren 46">
              <a:extLst>
                <a:ext uri="{FF2B5EF4-FFF2-40B4-BE49-F238E27FC236}">
                  <a16:creationId xmlns:a16="http://schemas.microsoft.com/office/drawing/2014/main" id="{429EF0A6-94A5-4115-8BBE-AF825520CAF7}"/>
                </a:ext>
              </a:extLst>
            </p:cNvPr>
            <p:cNvGrpSpPr/>
            <p:nvPr/>
          </p:nvGrpSpPr>
          <p:grpSpPr bwMode="gray">
            <a:xfrm>
              <a:off x="8673244" y="121794"/>
              <a:ext cx="410747" cy="512618"/>
              <a:chOff x="8166407" y="354405"/>
              <a:chExt cx="564701" cy="704754"/>
            </a:xfrm>
          </p:grpSpPr>
          <p:sp>
            <p:nvSpPr>
              <p:cNvPr id="49" name="Circle">
                <a:hlinkClick r:id="" action="ppaction://noaction"/>
                <a:extLst>
                  <a:ext uri="{FF2B5EF4-FFF2-40B4-BE49-F238E27FC236}">
                    <a16:creationId xmlns:a16="http://schemas.microsoft.com/office/drawing/2014/main" id="{67EAE8EA-F0FC-45CC-BD66-6ED336D1F2ED}"/>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50" name="Rectangle 17">
                <a:extLst>
                  <a:ext uri="{FF2B5EF4-FFF2-40B4-BE49-F238E27FC236}">
                    <a16:creationId xmlns:a16="http://schemas.microsoft.com/office/drawing/2014/main" id="{7D18AA45-E443-4490-BEAC-9C106DCE01F2}"/>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48" name="Grafik 47" descr="Zurück mit einfarbiger Füllung">
              <a:hlinkClick r:id="" action="ppaction://noaction"/>
              <a:extLst>
                <a:ext uri="{FF2B5EF4-FFF2-40B4-BE49-F238E27FC236}">
                  <a16:creationId xmlns:a16="http://schemas.microsoft.com/office/drawing/2014/main" id="{BF495CF7-ECD8-42B8-B888-01FD5B40322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gray">
            <a:xfrm>
              <a:off x="8732841" y="132370"/>
              <a:ext cx="285750" cy="285750"/>
            </a:xfrm>
            <a:prstGeom prst="rect">
              <a:avLst/>
            </a:prstGeom>
          </p:spPr>
        </p:pic>
      </p:grpSp>
      <p:pic>
        <p:nvPicPr>
          <p:cNvPr id="40" name="Picture 6">
            <a:extLst>
              <a:ext uri="{FF2B5EF4-FFF2-40B4-BE49-F238E27FC236}">
                <a16:creationId xmlns:a16="http://schemas.microsoft.com/office/drawing/2014/main" id="{7782F1E9-2AD9-4037-8469-50EAC8A32ADB}"/>
              </a:ext>
            </a:extLst>
          </p:cNvPr>
          <p:cNvPicPr>
            <a:picLocks noChangeAspect="1"/>
          </p:cNvPicPr>
          <p:nvPr/>
        </p:nvPicPr>
        <p:blipFill>
          <a:blip r:embed="rId19"/>
          <a:stretch>
            <a:fillRect/>
          </a:stretch>
        </p:blipFill>
        <p:spPr>
          <a:xfrm>
            <a:off x="7019058" y="-141171"/>
            <a:ext cx="3524679" cy="1124960"/>
          </a:xfrm>
          <a:prstGeom prst="rect">
            <a:avLst/>
          </a:prstGeom>
        </p:spPr>
      </p:pic>
    </p:spTree>
    <p:extLst>
      <p:ext uri="{BB962C8B-B14F-4D97-AF65-F5344CB8AC3E}">
        <p14:creationId xmlns:p14="http://schemas.microsoft.com/office/powerpoint/2010/main" val="1238827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10" presetClass="entr" presetSubtype="0"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P spid="22" grpId="0" animBg="1"/>
      <p:bldP spid="23" grpId="0" animBg="1"/>
      <p:bldP spid="24" grpId="0" animBg="1"/>
      <p:bldP spid="25" grpId="0" animBg="1"/>
      <p:bldP spid="26" grpId="0" animBg="1"/>
      <p:bldP spid="27" grpId="0" animBg="1"/>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06C152D-F0B9-44E2-8018-ACDFFD729082}"/>
              </a:ext>
            </a:extLst>
          </p:cNvPr>
          <p:cNvSpPr>
            <a:spLocks noGrp="1"/>
          </p:cNvSpPr>
          <p:nvPr>
            <p:ph type="title"/>
          </p:nvPr>
        </p:nvSpPr>
        <p:spPr bwMode="gray">
          <a:xfrm>
            <a:off x="590549" y="328507"/>
            <a:ext cx="8749393" cy="634567"/>
          </a:xfrm>
        </p:spPr>
        <p:txBody>
          <a:bodyPr/>
          <a:lstStyle/>
          <a:p>
            <a:r>
              <a:rPr lang="es-ES" sz="3200" dirty="0"/>
              <a:t>Nuestro Modelo de Negocio</a:t>
            </a:r>
          </a:p>
        </p:txBody>
      </p:sp>
      <p:sp>
        <p:nvSpPr>
          <p:cNvPr id="6" name="Untertitel 5">
            <a:extLst>
              <a:ext uri="{FF2B5EF4-FFF2-40B4-BE49-F238E27FC236}">
                <a16:creationId xmlns:a16="http://schemas.microsoft.com/office/drawing/2014/main" id="{FC94331B-E7D9-4250-A4A1-9DFC96EF5885}"/>
              </a:ext>
            </a:extLst>
          </p:cNvPr>
          <p:cNvSpPr>
            <a:spLocks noGrp="1"/>
          </p:cNvSpPr>
          <p:nvPr>
            <p:ph type="subTitle" idx="14"/>
          </p:nvPr>
        </p:nvSpPr>
        <p:spPr bwMode="gray">
          <a:xfrm>
            <a:off x="601135" y="854131"/>
            <a:ext cx="10023023" cy="511931"/>
          </a:xfrm>
        </p:spPr>
        <p:txBody>
          <a:bodyPr/>
          <a:lstStyle/>
          <a:p>
            <a:r>
              <a:rPr lang="es-ES" sz="2133" b="1"/>
              <a:t>S</a:t>
            </a:r>
            <a:r>
              <a:rPr lang="es-ES" sz="2133"/>
              <a:t>oftware habilitado por </a:t>
            </a:r>
            <a:r>
              <a:rPr lang="es-ES" sz="2133" b="1"/>
              <a:t>H</a:t>
            </a:r>
            <a:r>
              <a:rPr lang="es-ES" sz="2133"/>
              <a:t>ardware como </a:t>
            </a:r>
            <a:r>
              <a:rPr lang="es-ES" sz="2133" b="1"/>
              <a:t>s</a:t>
            </a:r>
            <a:r>
              <a:rPr lang="es-ES" sz="2133"/>
              <a:t>ervicio</a:t>
            </a:r>
          </a:p>
        </p:txBody>
      </p:sp>
      <p:sp>
        <p:nvSpPr>
          <p:cNvPr id="7" name="Inhaltsplatzhalter 6">
            <a:extLst>
              <a:ext uri="{FF2B5EF4-FFF2-40B4-BE49-F238E27FC236}">
                <a16:creationId xmlns:a16="http://schemas.microsoft.com/office/drawing/2014/main" id="{0CE05DC0-738B-459B-A911-AFB6837641B8}"/>
              </a:ext>
            </a:extLst>
          </p:cNvPr>
          <p:cNvSpPr>
            <a:spLocks noGrp="1"/>
          </p:cNvSpPr>
          <p:nvPr>
            <p:ph sz="quarter" idx="15"/>
          </p:nvPr>
        </p:nvSpPr>
        <p:spPr bwMode="gray">
          <a:xfrm>
            <a:off x="590552" y="1582237"/>
            <a:ext cx="4914893" cy="4163483"/>
          </a:xfrm>
        </p:spPr>
        <p:txBody>
          <a:bodyPr/>
          <a:lstStyle/>
          <a:p>
            <a:pPr marL="0" indent="0" algn="ctr">
              <a:buNone/>
            </a:pPr>
            <a:r>
              <a:rPr lang="es-ES" sz="3733" b="1"/>
              <a:t>    PAQUETE SENSOR</a:t>
            </a:r>
          </a:p>
          <a:p>
            <a:pPr marL="0" indent="0" algn="ctr">
              <a:buNone/>
            </a:pPr>
            <a:endParaRPr lang="en-US" b="1"/>
          </a:p>
          <a:p>
            <a:pPr marL="719433" lvl="2" indent="0">
              <a:buNone/>
            </a:pPr>
            <a:r>
              <a:rPr lang="es-ES" sz="1600" i="1"/>
              <a:t>Compra única de elementos fijos</a:t>
            </a:r>
          </a:p>
          <a:p>
            <a:pPr marL="719433" lvl="2" indent="0">
              <a:buNone/>
            </a:pPr>
            <a:endParaRPr lang="en-US" b="1"/>
          </a:p>
          <a:p>
            <a:pPr marL="719433" lvl="2" indent="0">
              <a:buNone/>
            </a:pPr>
            <a:r>
              <a:rPr lang="es-ES" b="1"/>
              <a:t>Contenido:</a:t>
            </a:r>
          </a:p>
          <a:p>
            <a:pPr marL="1199970" indent="-431989"/>
            <a:r>
              <a:rPr lang="es-ES" sz="1867" b="1"/>
              <a:t>Sensores </a:t>
            </a:r>
            <a:r>
              <a:rPr lang="es-ES" sz="1867"/>
              <a:t>de fugas</a:t>
            </a:r>
          </a:p>
          <a:p>
            <a:pPr marL="1199970" indent="-431989"/>
            <a:r>
              <a:rPr lang="es-ES" sz="1867"/>
              <a:t>Accesorios</a:t>
            </a:r>
          </a:p>
          <a:p>
            <a:pPr marL="1199970" indent="-431989"/>
            <a:r>
              <a:rPr lang="es-ES" sz="1867"/>
              <a:t>Productos de Contención Secundaria</a:t>
            </a:r>
          </a:p>
        </p:txBody>
      </p:sp>
      <p:sp>
        <p:nvSpPr>
          <p:cNvPr id="8" name="Inhaltsplatzhalter 7">
            <a:extLst>
              <a:ext uri="{FF2B5EF4-FFF2-40B4-BE49-F238E27FC236}">
                <a16:creationId xmlns:a16="http://schemas.microsoft.com/office/drawing/2014/main" id="{996C418C-5E71-4B58-BED9-1EA34A37A3C9}"/>
              </a:ext>
            </a:extLst>
          </p:cNvPr>
          <p:cNvSpPr>
            <a:spLocks noGrp="1"/>
          </p:cNvSpPr>
          <p:nvPr>
            <p:ph sz="quarter" idx="16"/>
          </p:nvPr>
        </p:nvSpPr>
        <p:spPr bwMode="gray">
          <a:xfrm>
            <a:off x="6686543" y="1582237"/>
            <a:ext cx="4904323" cy="4673176"/>
          </a:xfrm>
        </p:spPr>
        <p:txBody>
          <a:bodyPr/>
          <a:lstStyle/>
          <a:p>
            <a:pPr marL="0" indent="0" algn="ctr">
              <a:buNone/>
            </a:pPr>
            <a:r>
              <a:rPr lang="es-ES" sz="3733" b="1"/>
              <a:t>     SUBSCRIPCIÓN</a:t>
            </a:r>
          </a:p>
          <a:p>
            <a:pPr marL="0" indent="0" algn="ctr">
              <a:buNone/>
            </a:pPr>
            <a:endParaRPr lang="en-US" i="1"/>
          </a:p>
          <a:p>
            <a:pPr marL="0" indent="0" algn="ctr">
              <a:buNone/>
            </a:pPr>
            <a:r>
              <a:rPr lang="es-ES" sz="1333" i="1"/>
              <a:t>Suscripción anual de elementos generadores de valor </a:t>
            </a:r>
          </a:p>
          <a:p>
            <a:pPr marL="0" indent="0" algn="ctr">
              <a:buNone/>
            </a:pPr>
            <a:endParaRPr lang="en-US" i="1"/>
          </a:p>
          <a:p>
            <a:pPr marL="351253" lvl="1" indent="0">
              <a:buNone/>
            </a:pPr>
            <a:r>
              <a:rPr lang="es-ES" b="1"/>
              <a:t>Contenidos:</a:t>
            </a:r>
          </a:p>
          <a:p>
            <a:pPr marL="719982" indent="-431989">
              <a:buClr>
                <a:srgbClr val="E1000F"/>
              </a:buClr>
              <a:defRPr/>
            </a:pPr>
            <a:r>
              <a:rPr lang="es-ES" sz="1867">
                <a:solidFill>
                  <a:srgbClr val="000000"/>
                </a:solidFill>
              </a:rPr>
              <a:t>Acceso a la </a:t>
            </a:r>
            <a:r>
              <a:rPr lang="es-ES" sz="1867" b="1">
                <a:solidFill>
                  <a:srgbClr val="000000"/>
                </a:solidFill>
              </a:rPr>
              <a:t>App de LOCTITE Pulse</a:t>
            </a:r>
            <a:r>
              <a:rPr lang="es-ES" sz="1867">
                <a:solidFill>
                  <a:srgbClr val="000000"/>
                </a:solidFill>
              </a:rPr>
              <a:t> y a las Notificaciones de Fugas</a:t>
            </a:r>
          </a:p>
          <a:p>
            <a:pPr marL="719982" indent="-431989">
              <a:buClr>
                <a:srgbClr val="E1000F"/>
              </a:buClr>
              <a:defRPr/>
            </a:pPr>
            <a:endParaRPr lang="es-ES" sz="1867">
              <a:solidFill>
                <a:srgbClr val="000000"/>
              </a:solidFill>
            </a:endParaRPr>
          </a:p>
          <a:p>
            <a:pPr marL="719982" indent="-431989" defTabSz="1219170">
              <a:buClr>
                <a:srgbClr val="E1000F"/>
              </a:buClr>
              <a:defRPr/>
            </a:pPr>
            <a:r>
              <a:rPr lang="es-ES" sz="1867">
                <a:solidFill>
                  <a:srgbClr val="000000"/>
                </a:solidFill>
              </a:rPr>
              <a:t>Servicios </a:t>
            </a:r>
            <a:r>
              <a:rPr lang="es-ES" sz="1867" b="1">
                <a:solidFill>
                  <a:srgbClr val="000000"/>
                </a:solidFill>
              </a:rPr>
              <a:t>Cloud</a:t>
            </a:r>
            <a:r>
              <a:rPr lang="es-ES" sz="1867">
                <a:solidFill>
                  <a:srgbClr val="000000"/>
                </a:solidFill>
              </a:rPr>
              <a:t> </a:t>
            </a:r>
            <a:r>
              <a:rPr lang="es-ES" sz="1867" err="1">
                <a:solidFill>
                  <a:srgbClr val="000000"/>
                </a:solidFill>
              </a:rPr>
              <a:t>Analytics</a:t>
            </a:r>
            <a:endParaRPr lang="es-ES" sz="1867">
              <a:solidFill>
                <a:srgbClr val="000000"/>
              </a:solidFill>
            </a:endParaRPr>
          </a:p>
          <a:p>
            <a:pPr marL="719982" indent="-431989" defTabSz="1219170">
              <a:buClr>
                <a:srgbClr val="E1000F"/>
              </a:buClr>
              <a:defRPr/>
            </a:pPr>
            <a:r>
              <a:rPr lang="es-ES" sz="1867" b="1">
                <a:solidFill>
                  <a:srgbClr val="000000"/>
                </a:solidFill>
              </a:rPr>
              <a:t>Asistencia de software </a:t>
            </a:r>
            <a:r>
              <a:rPr lang="es-ES" sz="1867">
                <a:solidFill>
                  <a:srgbClr val="000000"/>
                </a:solidFill>
              </a:rPr>
              <a:t>y apoyo</a:t>
            </a:r>
          </a:p>
        </p:txBody>
      </p:sp>
      <p:grpSp>
        <p:nvGrpSpPr>
          <p:cNvPr id="11" name="Gruppieren 10">
            <a:extLst>
              <a:ext uri="{FF2B5EF4-FFF2-40B4-BE49-F238E27FC236}">
                <a16:creationId xmlns:a16="http://schemas.microsoft.com/office/drawing/2014/main" id="{82716ADE-B41D-458B-A20A-8335228F95E4}"/>
              </a:ext>
            </a:extLst>
          </p:cNvPr>
          <p:cNvGrpSpPr/>
          <p:nvPr/>
        </p:nvGrpSpPr>
        <p:grpSpPr bwMode="gray">
          <a:xfrm>
            <a:off x="6659678" y="1282638"/>
            <a:ext cx="1047839" cy="1047839"/>
            <a:chOff x="4572000" y="1006650"/>
            <a:chExt cx="1034592" cy="1034592"/>
          </a:xfrm>
        </p:grpSpPr>
        <p:pic>
          <p:nvPicPr>
            <p:cNvPr id="9" name="Grafik 8" descr="Cloud Silhouette">
              <a:extLst>
                <a:ext uri="{FF2B5EF4-FFF2-40B4-BE49-F238E27FC236}">
                  <a16:creationId xmlns:a16="http://schemas.microsoft.com/office/drawing/2014/main" id="{7FA1A6BE-941E-4EE3-8C32-43C0919DA7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0" y="1006650"/>
              <a:ext cx="1034592" cy="1034592"/>
            </a:xfrm>
            <a:prstGeom prst="rect">
              <a:avLst/>
            </a:prstGeom>
          </p:spPr>
        </p:pic>
        <p:pic>
          <p:nvPicPr>
            <p:cNvPr id="10" name="LOCP_RED.png" descr="LOCP_RED.png">
              <a:extLst>
                <a:ext uri="{FF2B5EF4-FFF2-40B4-BE49-F238E27FC236}">
                  <a16:creationId xmlns:a16="http://schemas.microsoft.com/office/drawing/2014/main" id="{B1C3101C-A9C9-4757-856C-D5449EC4F88D}"/>
                </a:ext>
              </a:extLst>
            </p:cNvPr>
            <p:cNvPicPr>
              <a:picLocks noChangeAspect="1"/>
            </p:cNvPicPr>
            <p:nvPr/>
          </p:nvPicPr>
          <p:blipFill>
            <a:blip r:embed="rId4"/>
            <a:stretch>
              <a:fillRect/>
            </a:stretch>
          </p:blipFill>
          <p:spPr bwMode="gray">
            <a:xfrm>
              <a:off x="4648704" y="1491091"/>
              <a:ext cx="881183" cy="281739"/>
            </a:xfrm>
            <a:prstGeom prst="rect">
              <a:avLst/>
            </a:prstGeom>
            <a:ln w="12700">
              <a:miter lim="400000"/>
            </a:ln>
          </p:spPr>
        </p:pic>
      </p:grpSp>
      <p:pic>
        <p:nvPicPr>
          <p:cNvPr id="13" name="Image" descr="Image">
            <a:extLst>
              <a:ext uri="{FF2B5EF4-FFF2-40B4-BE49-F238E27FC236}">
                <a16:creationId xmlns:a16="http://schemas.microsoft.com/office/drawing/2014/main" id="{E524D1A0-5264-4B11-A91B-D7CC812A2FB6}"/>
              </a:ext>
            </a:extLst>
          </p:cNvPr>
          <p:cNvPicPr>
            <a:picLocks noChangeAspect="1"/>
          </p:cNvPicPr>
          <p:nvPr/>
        </p:nvPicPr>
        <p:blipFill>
          <a:blip r:embed="rId5"/>
          <a:stretch>
            <a:fillRect/>
          </a:stretch>
        </p:blipFill>
        <p:spPr bwMode="gray">
          <a:xfrm>
            <a:off x="601135" y="1586417"/>
            <a:ext cx="528000" cy="528000"/>
          </a:xfrm>
          <a:prstGeom prst="rect">
            <a:avLst/>
          </a:prstGeom>
          <a:ln w="12700">
            <a:miter lim="400000"/>
          </a:ln>
        </p:spPr>
      </p:pic>
      <mc:AlternateContent xmlns:mc="http://schemas.openxmlformats.org/markup-compatibility/2006" xmlns:p14="http://schemas.microsoft.com/office/powerpoint/2010/main">
        <mc:Choice Requires="p14">
          <p:contentPart p14:bwMode="gray" r:id="rId6">
            <p14:nvContentPartPr>
              <p14:cNvPr id="14" name="Freihand 13">
                <a:extLst>
                  <a:ext uri="{FF2B5EF4-FFF2-40B4-BE49-F238E27FC236}">
                    <a16:creationId xmlns:a16="http://schemas.microsoft.com/office/drawing/2014/main" id="{7A7EAEB9-776E-4393-9E05-ECA9CC508DE9}"/>
                  </a:ext>
                </a:extLst>
              </p14:cNvPr>
              <p14:cNvContentPartPr/>
              <p14:nvPr/>
            </p14:nvContentPartPr>
            <p14:xfrm>
              <a:off x="5857849" y="1610299"/>
              <a:ext cx="449945" cy="528000"/>
            </p14:xfrm>
          </p:contentPart>
        </mc:Choice>
        <mc:Fallback xmlns="">
          <p:pic>
            <p:nvPicPr>
              <p:cNvPr id="14" name="Freihand 13">
                <a:extLst>
                  <a:ext uri="{FF2B5EF4-FFF2-40B4-BE49-F238E27FC236}">
                    <a16:creationId xmlns:a16="http://schemas.microsoft.com/office/drawing/2014/main" id="{7A7EAEB9-776E-4393-9E05-ECA9CC508DE9}"/>
                  </a:ext>
                </a:extLst>
              </p:cNvPr>
              <p:cNvPicPr/>
              <p:nvPr/>
            </p:nvPicPr>
            <p:blipFill>
              <a:blip r:embed="rId7"/>
              <a:stretch>
                <a:fillRect/>
              </a:stretch>
            </p:blipFill>
            <p:spPr>
              <a:xfrm>
                <a:off x="5843451" y="1595892"/>
                <a:ext cx="478382" cy="556453"/>
              </a:xfrm>
              <a:prstGeom prst="rect">
                <a:avLst/>
              </a:prstGeom>
            </p:spPr>
          </p:pic>
        </mc:Fallback>
      </mc:AlternateContent>
    </p:spTree>
    <p:extLst>
      <p:ext uri="{BB962C8B-B14F-4D97-AF65-F5344CB8AC3E}">
        <p14:creationId xmlns:p14="http://schemas.microsoft.com/office/powerpoint/2010/main" val="4222163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7">
                                            <p:txEl>
                                              <p:pRg st="0" end="0"/>
                                            </p:txEl>
                                          </p:spTgt>
                                        </p:tgtEl>
                                      </p:cBhvr>
                                    </p:animEffect>
                                    <p:animScale>
                                      <p:cBhvr>
                                        <p:cTn id="11" dur="250" autoRev="1" fill="hold"/>
                                        <p:tgtEl>
                                          <p:spTgt spid="7">
                                            <p:txEl>
                                              <p:pRg st="0" end="0"/>
                                            </p:txEl>
                                          </p:spTgt>
                                        </p:tgtEl>
                                      </p:cBhvr>
                                      <p:by x="105000" y="105000"/>
                                    </p:animScale>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7">
                                            <p:txEl>
                                              <p:pRg st="2" end="2"/>
                                            </p:txEl>
                                          </p:spTgt>
                                        </p:tgtEl>
                                      </p:cBhvr>
                                    </p:animEffect>
                                    <p:animScale>
                                      <p:cBhvr>
                                        <p:cTn id="15" dur="250" autoRev="1" fill="hold"/>
                                        <p:tgtEl>
                                          <p:spTgt spid="7">
                                            <p:txEl>
                                              <p:pRg st="2" end="2"/>
                                            </p:txEl>
                                          </p:spTgt>
                                        </p:tgtEl>
                                      </p:cBhvr>
                                      <p:by x="105000" y="105000"/>
                                    </p:animScale>
                                  </p:childTnLst>
                                </p:cTn>
                              </p:par>
                            </p:childTnLst>
                          </p:cTn>
                        </p:par>
                        <p:par>
                          <p:cTn id="16" fill="hold">
                            <p:stCondLst>
                              <p:cond delay="1500"/>
                            </p:stCondLst>
                            <p:childTnLst>
                              <p:par>
                                <p:cTn id="17" presetID="26" presetClass="emph" presetSubtype="0" fill="hold" nodeType="afterEffect">
                                  <p:stCondLst>
                                    <p:cond delay="0"/>
                                  </p:stCondLst>
                                  <p:childTnLst>
                                    <p:animEffect transition="out" filter="fade">
                                      <p:cBhvr>
                                        <p:cTn id="18" dur="500" tmFilter="0, 0; .2, .5; .8, .5; 1, 0"/>
                                        <p:tgtEl>
                                          <p:spTgt spid="7">
                                            <p:txEl>
                                              <p:pRg st="4" end="4"/>
                                            </p:txEl>
                                          </p:spTgt>
                                        </p:tgtEl>
                                      </p:cBhvr>
                                    </p:animEffect>
                                    <p:animScale>
                                      <p:cBhvr>
                                        <p:cTn id="19" dur="250" autoRev="1" fill="hold"/>
                                        <p:tgtEl>
                                          <p:spTgt spid="7">
                                            <p:txEl>
                                              <p:pRg st="4" end="4"/>
                                            </p:txEl>
                                          </p:spTgt>
                                        </p:tgtEl>
                                      </p:cBhvr>
                                      <p:by x="105000" y="105000"/>
                                    </p:animScale>
                                  </p:childTnLst>
                                </p:cTn>
                              </p:par>
                              <p:par>
                                <p:cTn id="20" presetID="26" presetClass="emph" presetSubtype="0" fill="hold" nodeType="withEffect">
                                  <p:stCondLst>
                                    <p:cond delay="0"/>
                                  </p:stCondLst>
                                  <p:childTnLst>
                                    <p:animEffect transition="out" filter="fade">
                                      <p:cBhvr>
                                        <p:cTn id="21" dur="500" tmFilter="0, 0; .2, .5; .8, .5; 1, 0"/>
                                        <p:tgtEl>
                                          <p:spTgt spid="13"/>
                                        </p:tgtEl>
                                      </p:cBhvr>
                                    </p:animEffect>
                                    <p:animScale>
                                      <p:cBhvr>
                                        <p:cTn id="22" dur="250" autoRev="1" fill="hold"/>
                                        <p:tgtEl>
                                          <p:spTgt spid="13"/>
                                        </p:tgtEl>
                                      </p:cBhvr>
                                      <p:by x="105000" y="105000"/>
                                    </p:animScale>
                                  </p:childTnLst>
                                </p:cTn>
                              </p:par>
                            </p:childTnLst>
                          </p:cTn>
                        </p:par>
                        <p:par>
                          <p:cTn id="23" fill="hold">
                            <p:stCondLst>
                              <p:cond delay="2000"/>
                            </p:stCondLst>
                            <p:childTnLst>
                              <p:par>
                                <p:cTn id="24" presetID="26" presetClass="emph" presetSubtype="0" fill="hold" nodeType="afterEffect">
                                  <p:stCondLst>
                                    <p:cond delay="0"/>
                                  </p:stCondLst>
                                  <p:childTnLst>
                                    <p:animEffect transition="out" filter="fade">
                                      <p:cBhvr>
                                        <p:cTn id="25" dur="500" tmFilter="0, 0; .2, .5; .8, .5; 1, 0"/>
                                        <p:tgtEl>
                                          <p:spTgt spid="8">
                                            <p:txEl>
                                              <p:pRg st="0" end="0"/>
                                            </p:txEl>
                                          </p:spTgt>
                                        </p:tgtEl>
                                      </p:cBhvr>
                                    </p:animEffect>
                                    <p:animScale>
                                      <p:cBhvr>
                                        <p:cTn id="26" dur="250" autoRev="1" fill="hold"/>
                                        <p:tgtEl>
                                          <p:spTgt spid="8">
                                            <p:txEl>
                                              <p:pRg st="0" end="0"/>
                                            </p:txEl>
                                          </p:spTgt>
                                        </p:tgtEl>
                                      </p:cBhvr>
                                      <p:by x="105000" y="105000"/>
                                    </p:animScale>
                                  </p:childTnLst>
                                </p:cTn>
                              </p:par>
                            </p:childTnLst>
                          </p:cTn>
                        </p:par>
                        <p:par>
                          <p:cTn id="27" fill="hold">
                            <p:stCondLst>
                              <p:cond delay="2500"/>
                            </p:stCondLst>
                            <p:childTnLst>
                              <p:par>
                                <p:cTn id="28" presetID="26" presetClass="emph" presetSubtype="0" fill="hold" nodeType="afterEffect">
                                  <p:stCondLst>
                                    <p:cond delay="0"/>
                                  </p:stCondLst>
                                  <p:childTnLst>
                                    <p:animEffect transition="out" filter="fade">
                                      <p:cBhvr>
                                        <p:cTn id="29" dur="500" tmFilter="0, 0; .2, .5; .8, .5; 1, 0"/>
                                        <p:tgtEl>
                                          <p:spTgt spid="8">
                                            <p:txEl>
                                              <p:pRg st="2" end="2"/>
                                            </p:txEl>
                                          </p:spTgt>
                                        </p:tgtEl>
                                      </p:cBhvr>
                                    </p:animEffect>
                                    <p:animScale>
                                      <p:cBhvr>
                                        <p:cTn id="30" dur="250" autoRev="1" fill="hold"/>
                                        <p:tgtEl>
                                          <p:spTgt spid="8">
                                            <p:txEl>
                                              <p:pRg st="2" end="2"/>
                                            </p:txEl>
                                          </p:spTgt>
                                        </p:tgtEl>
                                      </p:cBhvr>
                                      <p:by x="105000" y="105000"/>
                                    </p:animScale>
                                  </p:childTnLst>
                                </p:cTn>
                              </p:par>
                            </p:childTnLst>
                          </p:cTn>
                        </p:par>
                        <p:par>
                          <p:cTn id="31" fill="hold">
                            <p:stCondLst>
                              <p:cond delay="3000"/>
                            </p:stCondLst>
                            <p:childTnLst>
                              <p:par>
                                <p:cTn id="32" presetID="26" presetClass="emph" presetSubtype="0" fill="hold" nodeType="afterEffect">
                                  <p:stCondLst>
                                    <p:cond delay="0"/>
                                  </p:stCondLst>
                                  <p:childTnLst>
                                    <p:animEffect transition="out" filter="fade">
                                      <p:cBhvr>
                                        <p:cTn id="33" dur="500" tmFilter="0, 0; .2, .5; .8, .5; 1, 0"/>
                                        <p:tgtEl>
                                          <p:spTgt spid="8">
                                            <p:txEl>
                                              <p:pRg st="4" end="4"/>
                                            </p:txEl>
                                          </p:spTgt>
                                        </p:tgtEl>
                                      </p:cBhvr>
                                    </p:animEffect>
                                    <p:animScale>
                                      <p:cBhvr>
                                        <p:cTn id="34" dur="250" autoRev="1" fill="hold"/>
                                        <p:tgtEl>
                                          <p:spTgt spid="8">
                                            <p:txEl>
                                              <p:pRg st="4" end="4"/>
                                            </p:txEl>
                                          </p:spTgt>
                                        </p:tgtEl>
                                      </p:cBhvr>
                                      <p:by x="105000" y="105000"/>
                                    </p:animScale>
                                  </p:childTnLst>
                                </p:cTn>
                              </p:par>
                              <p:par>
                                <p:cTn id="35" presetID="26" presetClass="emph" presetSubtype="0" fill="hold" nodeType="withEffect">
                                  <p:stCondLst>
                                    <p:cond delay="0"/>
                                  </p:stCondLst>
                                  <p:childTnLst>
                                    <p:animEffect transition="out" filter="fade">
                                      <p:cBhvr>
                                        <p:cTn id="36" dur="500" tmFilter="0, 0; .2, .5; .8, .5; 1, 0"/>
                                        <p:tgtEl>
                                          <p:spTgt spid="11"/>
                                        </p:tgtEl>
                                      </p:cBhvr>
                                    </p:animEffect>
                                    <p:animScale>
                                      <p:cBhvr>
                                        <p:cTn id="37" dur="25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715B5DA-92D6-48DC-9A77-269A3DC5046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4" name="Objekt 3" hidden="1">
                        <a:extLst>
                          <a:ext uri="{FF2B5EF4-FFF2-40B4-BE49-F238E27FC236}">
                            <a16:creationId xmlns:a16="http://schemas.microsoft.com/office/drawing/2014/main" id="{D715B5DA-92D6-48DC-9A77-269A3DC5046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pSp>
        <p:nvGrpSpPr>
          <p:cNvPr id="37" name="Gruppieren 36">
            <a:extLst>
              <a:ext uri="{FF2B5EF4-FFF2-40B4-BE49-F238E27FC236}">
                <a16:creationId xmlns:a16="http://schemas.microsoft.com/office/drawing/2014/main" id="{C7803EBD-3A8F-412F-8BFF-A6478082137A}"/>
              </a:ext>
            </a:extLst>
          </p:cNvPr>
          <p:cNvGrpSpPr/>
          <p:nvPr/>
        </p:nvGrpSpPr>
        <p:grpSpPr bwMode="gray">
          <a:xfrm>
            <a:off x="11564326" y="162392"/>
            <a:ext cx="547663" cy="683491"/>
            <a:chOff x="8673244" y="121794"/>
            <a:chExt cx="410747" cy="512618"/>
          </a:xfrm>
        </p:grpSpPr>
        <p:grpSp>
          <p:nvGrpSpPr>
            <p:cNvPr id="38" name="Gruppieren 37">
              <a:extLst>
                <a:ext uri="{FF2B5EF4-FFF2-40B4-BE49-F238E27FC236}">
                  <a16:creationId xmlns:a16="http://schemas.microsoft.com/office/drawing/2014/main" id="{5087000D-A36D-4AAE-9721-0791FF4057C2}"/>
                </a:ext>
              </a:extLst>
            </p:cNvPr>
            <p:cNvGrpSpPr/>
            <p:nvPr/>
          </p:nvGrpSpPr>
          <p:grpSpPr bwMode="gray">
            <a:xfrm>
              <a:off x="8673244" y="121794"/>
              <a:ext cx="410747" cy="512618"/>
              <a:chOff x="8166407" y="354405"/>
              <a:chExt cx="564701" cy="704754"/>
            </a:xfrm>
          </p:grpSpPr>
          <p:sp>
            <p:nvSpPr>
              <p:cNvPr id="40" name="Circle">
                <a:hlinkClick r:id="" action="ppaction://noaction"/>
                <a:extLst>
                  <a:ext uri="{FF2B5EF4-FFF2-40B4-BE49-F238E27FC236}">
                    <a16:creationId xmlns:a16="http://schemas.microsoft.com/office/drawing/2014/main" id="{B674B03F-1BE2-46E6-8323-E98A3669F830}"/>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41" name="Rectangle 17">
                <a:extLst>
                  <a:ext uri="{FF2B5EF4-FFF2-40B4-BE49-F238E27FC236}">
                    <a16:creationId xmlns:a16="http://schemas.microsoft.com/office/drawing/2014/main" id="{CAB5BC1F-C9FA-4AC8-9EE3-A435B54AEC3B}"/>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FFFFFF"/>
                    </a:solidFill>
                  </a:rPr>
                  <a:t>MENÚ</a:t>
                </a:r>
              </a:p>
            </p:txBody>
          </p:sp>
        </p:grpSp>
        <p:pic>
          <p:nvPicPr>
            <p:cNvPr id="39" name="Grafik 38" descr="Zurück mit einfarbiger Füllung">
              <a:hlinkClick r:id="" action="ppaction://noaction"/>
              <a:extLst>
                <a:ext uri="{FF2B5EF4-FFF2-40B4-BE49-F238E27FC236}">
                  <a16:creationId xmlns:a16="http://schemas.microsoft.com/office/drawing/2014/main" id="{5EDE504D-ACAE-470E-BCD9-D0C22073A0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8732841" y="132370"/>
              <a:ext cx="285750" cy="285750"/>
            </a:xfrm>
            <a:prstGeom prst="rect">
              <a:avLst/>
            </a:prstGeom>
          </p:spPr>
        </p:pic>
      </p:grpSp>
      <p:sp>
        <p:nvSpPr>
          <p:cNvPr id="63" name="Rectangle 27">
            <a:extLst>
              <a:ext uri="{FF2B5EF4-FFF2-40B4-BE49-F238E27FC236}">
                <a16:creationId xmlns:a16="http://schemas.microsoft.com/office/drawing/2014/main" id="{CA2B1FE1-77E6-47EA-BF0F-9B93A9A5660A}"/>
              </a:ext>
            </a:extLst>
          </p:cNvPr>
          <p:cNvSpPr/>
          <p:nvPr/>
        </p:nvSpPr>
        <p:spPr bwMode="gray">
          <a:xfrm>
            <a:off x="1" y="2704680"/>
            <a:ext cx="4048220" cy="4153321"/>
          </a:xfrm>
          <a:prstGeom prst="rect">
            <a:avLst/>
          </a:prstGeom>
          <a:solidFill>
            <a:schemeClr val="bg1"/>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64" name="Inhaltsplatzhalter 1">
            <a:extLst>
              <a:ext uri="{FF2B5EF4-FFF2-40B4-BE49-F238E27FC236}">
                <a16:creationId xmlns:a16="http://schemas.microsoft.com/office/drawing/2014/main" id="{05CC8583-6336-4F07-BB3E-73977604D2E2}"/>
              </a:ext>
            </a:extLst>
          </p:cNvPr>
          <p:cNvSpPr txBox="1"/>
          <p:nvPr/>
        </p:nvSpPr>
        <p:spPr bwMode="gray">
          <a:xfrm>
            <a:off x="601133" y="2357115"/>
            <a:ext cx="3166304" cy="5486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60" tIns="60960" rIns="60960" bIns="60960" anchor="ctr" anchorCtr="0">
            <a:noAutofit/>
          </a:bodyPr>
          <a:lstStyle>
            <a:lvl1pPr algn="ctr" defTabSz="914378">
              <a:lnSpc>
                <a:spcPct val="104999"/>
              </a:lnSpc>
              <a:spcBef>
                <a:spcPts val="600"/>
              </a:spcBef>
              <a:defRPr sz="2500" b="1"/>
            </a:lvl1pPr>
          </a:lstStyle>
          <a:p>
            <a:pPr defTabSz="1219140" hangingPunct="0">
              <a:spcBef>
                <a:spcPts val="800"/>
              </a:spcBef>
              <a:defRPr/>
            </a:pPr>
            <a:r>
              <a:rPr lang="es-ES" sz="2400" kern="0">
                <a:solidFill>
                  <a:srgbClr val="E1000F"/>
                </a:solidFill>
                <a:latin typeface="Segoe UI"/>
                <a:cs typeface="Segoe UI"/>
                <a:sym typeface="Segoe UI"/>
              </a:rPr>
              <a:t>Problema</a:t>
            </a:r>
          </a:p>
        </p:txBody>
      </p:sp>
      <p:sp>
        <p:nvSpPr>
          <p:cNvPr id="65" name="Reoccurring leakages cause unplanned downtime, repair costs and HSE risks">
            <a:extLst>
              <a:ext uri="{FF2B5EF4-FFF2-40B4-BE49-F238E27FC236}">
                <a16:creationId xmlns:a16="http://schemas.microsoft.com/office/drawing/2014/main" id="{E7388F96-1FFB-4707-A364-BBB5176C0879}"/>
              </a:ext>
            </a:extLst>
          </p:cNvPr>
          <p:cNvSpPr txBox="1"/>
          <p:nvPr/>
        </p:nvSpPr>
        <p:spPr bwMode="gray">
          <a:xfrm>
            <a:off x="601134" y="2774260"/>
            <a:ext cx="3370605" cy="10575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97" tIns="62397" rIns="62397" bIns="62397" anchor="t">
            <a:spAutoFit/>
          </a:bodyPr>
          <a:lstStyle>
            <a:lvl1pPr algn="ctr" defTabSz="914378">
              <a:lnSpc>
                <a:spcPct val="104999"/>
              </a:lnSpc>
              <a:defRPr sz="1000"/>
            </a:lvl1pPr>
          </a:lstStyle>
          <a:p>
            <a:pPr algn="l" defTabSz="1219140" hangingPunct="0">
              <a:defRPr/>
            </a:pPr>
            <a:r>
              <a:rPr lang="es-ES" sz="1467" kern="0">
                <a:solidFill>
                  <a:srgbClr val="000000"/>
                </a:solidFill>
                <a:latin typeface="Segoe UI"/>
                <a:cs typeface="Segoe UI"/>
                <a:sym typeface="Segoe UI"/>
              </a:rPr>
              <a:t>Las fugas recurrentes de hidrocarburos causan tiempos de paradas no planificados, costes de reparaciones y riesgos de Salud y Seguridad laborales.</a:t>
            </a:r>
          </a:p>
        </p:txBody>
      </p:sp>
      <p:pic>
        <p:nvPicPr>
          <p:cNvPr id="67" name="Grafik 42">
            <a:extLst>
              <a:ext uri="{FF2B5EF4-FFF2-40B4-BE49-F238E27FC236}">
                <a16:creationId xmlns:a16="http://schemas.microsoft.com/office/drawing/2014/main" id="{25A5A326-4F18-42B6-9F2D-60ACDDA286B3}"/>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b="13922"/>
          <a:stretch/>
        </p:blipFill>
        <p:spPr>
          <a:xfrm>
            <a:off x="601133" y="3901134"/>
            <a:ext cx="3245079" cy="2094973"/>
          </a:xfrm>
          <a:prstGeom prst="roundRect">
            <a:avLst>
              <a:gd name="adj" fmla="val 5810"/>
            </a:avLst>
          </a:prstGeom>
          <a:ln w="12700" cap="flat">
            <a:noFill/>
            <a:miter lim="400000"/>
          </a:ln>
          <a:effectLst/>
        </p:spPr>
      </p:pic>
      <p:grpSp>
        <p:nvGrpSpPr>
          <p:cNvPr id="68" name="Gruppieren 2">
            <a:extLst>
              <a:ext uri="{FF2B5EF4-FFF2-40B4-BE49-F238E27FC236}">
                <a16:creationId xmlns:a16="http://schemas.microsoft.com/office/drawing/2014/main" id="{26FD73D5-C7A4-4E14-B548-80EAAB18D8DB}"/>
              </a:ext>
            </a:extLst>
          </p:cNvPr>
          <p:cNvGrpSpPr/>
          <p:nvPr/>
        </p:nvGrpSpPr>
        <p:grpSpPr>
          <a:xfrm>
            <a:off x="4142163" y="2308226"/>
            <a:ext cx="3891069" cy="4549775"/>
            <a:chOff x="3106622" y="1731169"/>
            <a:chExt cx="2918302" cy="3412331"/>
          </a:xfrm>
        </p:grpSpPr>
        <p:grpSp>
          <p:nvGrpSpPr>
            <p:cNvPr id="69" name="Gruppieren 1">
              <a:extLst>
                <a:ext uri="{FF2B5EF4-FFF2-40B4-BE49-F238E27FC236}">
                  <a16:creationId xmlns:a16="http://schemas.microsoft.com/office/drawing/2014/main" id="{0DD9CE46-393E-4F7C-9F4E-8A3A76DB8270}"/>
                </a:ext>
              </a:extLst>
            </p:cNvPr>
            <p:cNvGrpSpPr/>
            <p:nvPr/>
          </p:nvGrpSpPr>
          <p:grpSpPr bwMode="gray">
            <a:xfrm>
              <a:off x="3106622" y="1731169"/>
              <a:ext cx="2918302" cy="3412331"/>
              <a:chOff x="3105510" y="1731169"/>
              <a:chExt cx="2918302" cy="3412331"/>
            </a:xfrm>
          </p:grpSpPr>
          <p:sp>
            <p:nvSpPr>
              <p:cNvPr id="71" name="Rectangle 27">
                <a:extLst>
                  <a:ext uri="{FF2B5EF4-FFF2-40B4-BE49-F238E27FC236}">
                    <a16:creationId xmlns:a16="http://schemas.microsoft.com/office/drawing/2014/main" id="{33AB0EEB-5B09-41FA-915C-2DC321B3F1F6}"/>
                  </a:ext>
                </a:extLst>
              </p:cNvPr>
              <p:cNvSpPr/>
              <p:nvPr/>
            </p:nvSpPr>
            <p:spPr bwMode="gray">
              <a:xfrm>
                <a:off x="3105510" y="1731169"/>
                <a:ext cx="2918302" cy="3412331"/>
              </a:xfrm>
              <a:prstGeom prst="rect">
                <a:avLst/>
              </a:prstGeom>
              <a:solidFill>
                <a:srgbClr val="E6E7E7"/>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72" name="Reoccurring leakages cause unplanned downtime, repair costs and HSE risks">
                <a:extLst>
                  <a:ext uri="{FF2B5EF4-FFF2-40B4-BE49-F238E27FC236}">
                    <a16:creationId xmlns:a16="http://schemas.microsoft.com/office/drawing/2014/main" id="{E6270EB1-B9FE-482A-BAF0-2EDB7E7C0D1F}"/>
                  </a:ext>
                </a:extLst>
              </p:cNvPr>
              <p:cNvSpPr txBox="1"/>
              <p:nvPr/>
            </p:nvSpPr>
            <p:spPr bwMode="gray">
              <a:xfrm>
                <a:off x="3281545" y="2080694"/>
                <a:ext cx="2477818" cy="79316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97" tIns="62397" rIns="62397" bIns="62397" anchor="t">
                <a:spAutoFit/>
              </a:bodyPr>
              <a:lstStyle>
                <a:lvl1pPr algn="ctr" defTabSz="914378">
                  <a:lnSpc>
                    <a:spcPct val="104999"/>
                  </a:lnSpc>
                  <a:defRPr sz="1000"/>
                </a:lvl1pPr>
              </a:lstStyle>
              <a:p>
                <a:pPr algn="l" defTabSz="1219140" hangingPunct="0">
                  <a:defRPr/>
                </a:pPr>
                <a:r>
                  <a:rPr lang="es-ES" sz="1467" kern="0" dirty="0">
                    <a:solidFill>
                      <a:srgbClr val="000000"/>
                    </a:solidFill>
                    <a:latin typeface="Segoe UI"/>
                    <a:cs typeface="Segoe UI"/>
                    <a:sym typeface="Segoe UI"/>
                  </a:rPr>
                  <a:t>El control inteligente avisa con notificaciones continuas de que las fugas se produzcan.</a:t>
                </a:r>
              </a:p>
              <a:p>
                <a:pPr defTabSz="1219140" hangingPunct="0">
                  <a:defRPr/>
                </a:pPr>
                <a:endParaRPr lang="en-US" sz="1467" kern="0" dirty="0">
                  <a:solidFill>
                    <a:srgbClr val="000000"/>
                  </a:solidFill>
                  <a:latin typeface="Segoe UI"/>
                  <a:cs typeface="Segoe UI"/>
                  <a:sym typeface="Segoe UI"/>
                </a:endParaRPr>
              </a:p>
            </p:txBody>
          </p:sp>
          <p:sp>
            <p:nvSpPr>
              <p:cNvPr id="73" name="Inhaltsplatzhalter 1">
                <a:extLst>
                  <a:ext uri="{FF2B5EF4-FFF2-40B4-BE49-F238E27FC236}">
                    <a16:creationId xmlns:a16="http://schemas.microsoft.com/office/drawing/2014/main" id="{0C2294E1-BFD6-4DEE-A081-E51775BBBE5F}"/>
                  </a:ext>
                </a:extLst>
              </p:cNvPr>
              <p:cNvSpPr txBox="1"/>
              <p:nvPr/>
            </p:nvSpPr>
            <p:spPr bwMode="gray">
              <a:xfrm>
                <a:off x="3384635" y="1767836"/>
                <a:ext cx="2374728" cy="411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60" tIns="60960" rIns="60960" bIns="60960" anchor="ctr" anchorCtr="0">
                <a:noAutofit/>
              </a:bodyPr>
              <a:lstStyle>
                <a:lvl1pPr algn="ctr" defTabSz="914378">
                  <a:lnSpc>
                    <a:spcPct val="104999"/>
                  </a:lnSpc>
                  <a:spcBef>
                    <a:spcPts val="600"/>
                  </a:spcBef>
                  <a:defRPr sz="2500" b="1"/>
                </a:lvl1pPr>
              </a:lstStyle>
              <a:p>
                <a:pPr defTabSz="1219140" hangingPunct="0">
                  <a:spcBef>
                    <a:spcPts val="800"/>
                  </a:spcBef>
                  <a:defRPr/>
                </a:pPr>
                <a:r>
                  <a:rPr lang="es-ES" sz="2400" kern="0">
                    <a:solidFill>
                      <a:srgbClr val="E1000F"/>
                    </a:solidFill>
                    <a:latin typeface="Segoe UI"/>
                    <a:cs typeface="Segoe UI"/>
                    <a:sym typeface="Segoe UI"/>
                  </a:rPr>
                  <a:t>Solución</a:t>
                </a:r>
              </a:p>
            </p:txBody>
          </p:sp>
          <p:sp>
            <p:nvSpPr>
              <p:cNvPr id="74" name="Sprechblase: rechteckig mit abgerundeten Ecken 35">
                <a:extLst>
                  <a:ext uri="{FF2B5EF4-FFF2-40B4-BE49-F238E27FC236}">
                    <a16:creationId xmlns:a16="http://schemas.microsoft.com/office/drawing/2014/main" id="{7F65637E-3943-4CC7-AAB3-F2DFCFD0F6DD}"/>
                  </a:ext>
                </a:extLst>
              </p:cNvPr>
              <p:cNvSpPr/>
              <p:nvPr/>
            </p:nvSpPr>
            <p:spPr bwMode="gray">
              <a:xfrm>
                <a:off x="3366302" y="4549433"/>
                <a:ext cx="2369446" cy="479767"/>
              </a:xfrm>
              <a:prstGeom prst="wedgeRoundRectCallout">
                <a:avLst>
                  <a:gd name="adj1" fmla="val -17024"/>
                  <a:gd name="adj2" fmla="val -70101"/>
                  <a:gd name="adj3" fmla="val 16667"/>
                </a:avLst>
              </a:prstGeom>
              <a:solidFill>
                <a:schemeClr val="tx2"/>
              </a:solid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lnSpc>
                    <a:spcPct val="105000"/>
                  </a:lnSpc>
                  <a:spcBef>
                    <a:spcPct val="0"/>
                  </a:spcBef>
                  <a:spcAft>
                    <a:spcPct val="0"/>
                  </a:spcAft>
                  <a:buClr>
                    <a:srgbClr val="E1000F"/>
                  </a:buClr>
                  <a:buSzPct val="120000"/>
                </a:pPr>
                <a:r>
                  <a:rPr lang="es-ES" sz="1600" kern="0">
                    <a:solidFill>
                      <a:srgbClr val="FFFFFF"/>
                    </a:solidFill>
                    <a:latin typeface="Segoe UI"/>
                    <a:cs typeface="Segoe UI"/>
                    <a:sym typeface="Segoe UI"/>
                  </a:rPr>
                  <a:t>¡Seguridad adicional gracias a la </a:t>
                </a:r>
                <a:r>
                  <a:rPr lang="es-ES" sz="1600" b="1" kern="0">
                    <a:solidFill>
                      <a:srgbClr val="FFFFFF"/>
                    </a:solidFill>
                    <a:latin typeface="Segoe UI"/>
                    <a:cs typeface="Segoe UI"/>
                    <a:sym typeface="Segoe UI"/>
                  </a:rPr>
                  <a:t>contención secundaria</a:t>
                </a:r>
                <a:r>
                  <a:rPr lang="es-ES" sz="1600" kern="0">
                    <a:solidFill>
                      <a:srgbClr val="FFFFFF"/>
                    </a:solidFill>
                    <a:latin typeface="Segoe UI"/>
                    <a:cs typeface="Segoe UI"/>
                    <a:sym typeface="Segoe UI"/>
                  </a:rPr>
                  <a:t>!</a:t>
                </a:r>
              </a:p>
            </p:txBody>
          </p:sp>
        </p:grpSp>
        <p:pic>
          <p:nvPicPr>
            <p:cNvPr id="70" name="Grafik 43" descr="Ein Bild, das rot, schließen, Maschine enthält.&#10;&#10;Automatisch generierte Beschreibung">
              <a:extLst>
                <a:ext uri="{FF2B5EF4-FFF2-40B4-BE49-F238E27FC236}">
                  <a16:creationId xmlns:a16="http://schemas.microsoft.com/office/drawing/2014/main" id="{04A332B6-0768-4158-8A53-44DAB865D9C5}"/>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t="10203" b="3810"/>
            <a:stretch/>
          </p:blipFill>
          <p:spPr>
            <a:xfrm>
              <a:off x="3359748" y="2902224"/>
              <a:ext cx="2376000" cy="1532284"/>
            </a:xfrm>
            <a:prstGeom prst="roundRect">
              <a:avLst>
                <a:gd name="adj" fmla="val 5810"/>
              </a:avLst>
            </a:prstGeom>
            <a:ln w="12700" cap="flat">
              <a:noFill/>
              <a:miter lim="400000"/>
            </a:ln>
            <a:effectLst/>
          </p:spPr>
        </p:pic>
      </p:grpSp>
      <p:sp>
        <p:nvSpPr>
          <p:cNvPr id="76" name="Inhaltsplatzhalter 1">
            <a:extLst>
              <a:ext uri="{FF2B5EF4-FFF2-40B4-BE49-F238E27FC236}">
                <a16:creationId xmlns:a16="http://schemas.microsoft.com/office/drawing/2014/main" id="{C637BE74-34CD-4674-8B73-D52F2BE2A796}"/>
              </a:ext>
            </a:extLst>
          </p:cNvPr>
          <p:cNvSpPr txBox="1"/>
          <p:nvPr/>
        </p:nvSpPr>
        <p:spPr bwMode="gray">
          <a:xfrm>
            <a:off x="8322388" y="2357115"/>
            <a:ext cx="3166304" cy="5486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0960" tIns="60960" rIns="60960" bIns="60960" anchor="ctr" anchorCtr="0">
            <a:noAutofit/>
          </a:bodyPr>
          <a:lstStyle>
            <a:lvl1pPr algn="ctr" defTabSz="914378">
              <a:lnSpc>
                <a:spcPct val="104999"/>
              </a:lnSpc>
              <a:spcBef>
                <a:spcPts val="600"/>
              </a:spcBef>
              <a:defRPr sz="2500" b="1"/>
            </a:lvl1pPr>
          </a:lstStyle>
          <a:p>
            <a:pPr defTabSz="1219140" hangingPunct="0">
              <a:spcBef>
                <a:spcPts val="800"/>
              </a:spcBef>
              <a:defRPr/>
            </a:pPr>
            <a:r>
              <a:rPr lang="es-ES" sz="2400" kern="0">
                <a:solidFill>
                  <a:srgbClr val="E1000F"/>
                </a:solidFill>
                <a:latin typeface="Segoe UI"/>
                <a:cs typeface="Segoe UI"/>
                <a:sym typeface="Segoe UI"/>
              </a:rPr>
              <a:t>Resultados</a:t>
            </a:r>
          </a:p>
        </p:txBody>
      </p:sp>
      <p:sp>
        <p:nvSpPr>
          <p:cNvPr id="77" name="Reoccurring leakages cause unplanned downtime, repair costs and HSE risks">
            <a:extLst>
              <a:ext uri="{FF2B5EF4-FFF2-40B4-BE49-F238E27FC236}">
                <a16:creationId xmlns:a16="http://schemas.microsoft.com/office/drawing/2014/main" id="{BEC76274-1D3A-446E-A0E0-A94FC931AC9D}"/>
              </a:ext>
            </a:extLst>
          </p:cNvPr>
          <p:cNvSpPr txBox="1"/>
          <p:nvPr/>
        </p:nvSpPr>
        <p:spPr bwMode="gray">
          <a:xfrm>
            <a:off x="8145120" y="2775487"/>
            <a:ext cx="3361856" cy="58344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97" tIns="62397" rIns="62397" bIns="62397" anchor="t">
            <a:spAutoFit/>
          </a:bodyPr>
          <a:lstStyle>
            <a:lvl1pPr algn="ctr" defTabSz="914378">
              <a:lnSpc>
                <a:spcPct val="104999"/>
              </a:lnSpc>
              <a:defRPr sz="1000"/>
            </a:lvl1pPr>
          </a:lstStyle>
          <a:p>
            <a:pPr algn="l" defTabSz="1219140" hangingPunct="0">
              <a:defRPr/>
            </a:pPr>
            <a:r>
              <a:rPr lang="es-ES" sz="1467" kern="0">
                <a:solidFill>
                  <a:srgbClr val="000000"/>
                </a:solidFill>
                <a:latin typeface="Segoe UI"/>
                <a:cs typeface="Segoe UI"/>
                <a:sym typeface="Segoe UI"/>
              </a:rPr>
              <a:t>Indicadores clave de rendimiento (KPI) del proyecto seleccionado:</a:t>
            </a:r>
          </a:p>
        </p:txBody>
      </p:sp>
      <p:grpSp>
        <p:nvGrpSpPr>
          <p:cNvPr id="78" name="Gruppieren 12">
            <a:extLst>
              <a:ext uri="{FF2B5EF4-FFF2-40B4-BE49-F238E27FC236}">
                <a16:creationId xmlns:a16="http://schemas.microsoft.com/office/drawing/2014/main" id="{474E379F-E676-4C1E-B0F4-7AA73A93CD3E}"/>
              </a:ext>
            </a:extLst>
          </p:cNvPr>
          <p:cNvGrpSpPr/>
          <p:nvPr/>
        </p:nvGrpSpPr>
        <p:grpSpPr>
          <a:xfrm>
            <a:off x="8119958" y="4125897"/>
            <a:ext cx="3992031" cy="576000"/>
            <a:chOff x="6089968" y="3456629"/>
            <a:chExt cx="2994023" cy="432000"/>
          </a:xfrm>
        </p:grpSpPr>
        <p:sp>
          <p:nvSpPr>
            <p:cNvPr id="79" name="Ellipse 56">
              <a:extLst>
                <a:ext uri="{FF2B5EF4-FFF2-40B4-BE49-F238E27FC236}">
                  <a16:creationId xmlns:a16="http://schemas.microsoft.com/office/drawing/2014/main" id="{2ECCC94C-A267-47DE-97D4-7BCAC271BE03}"/>
                </a:ext>
              </a:extLst>
            </p:cNvPr>
            <p:cNvSpPr/>
            <p:nvPr/>
          </p:nvSpPr>
          <p:spPr bwMode="gray">
            <a:xfrm>
              <a:off x="6089968" y="3456629"/>
              <a:ext cx="432000" cy="432000"/>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grpSp>
          <p:nvGrpSpPr>
            <p:cNvPr id="81" name="Gruppieren 57">
              <a:extLst>
                <a:ext uri="{FF2B5EF4-FFF2-40B4-BE49-F238E27FC236}">
                  <a16:creationId xmlns:a16="http://schemas.microsoft.com/office/drawing/2014/main" id="{EC8980E3-F0E9-4EF0-8B7E-244C6DB6ECD3}"/>
                </a:ext>
              </a:extLst>
            </p:cNvPr>
            <p:cNvGrpSpPr/>
            <p:nvPr/>
          </p:nvGrpSpPr>
          <p:grpSpPr bwMode="gray">
            <a:xfrm>
              <a:off x="6139008" y="3505669"/>
              <a:ext cx="333920" cy="333920"/>
              <a:chOff x="5440494" y="-1667186"/>
              <a:chExt cx="914400" cy="914400"/>
            </a:xfrm>
            <a:solidFill>
              <a:schemeClr val="bg1"/>
            </a:solidFill>
          </p:grpSpPr>
          <p:pic>
            <p:nvPicPr>
              <p:cNvPr id="83" name="Grafik 58" descr="Zahnräder mit einfarbiger Füllung">
                <a:extLst>
                  <a:ext uri="{FF2B5EF4-FFF2-40B4-BE49-F238E27FC236}">
                    <a16:creationId xmlns:a16="http://schemas.microsoft.com/office/drawing/2014/main" id="{AA427D97-A7BB-48F1-A73E-9FC2274BDDC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gray">
              <a:xfrm>
                <a:off x="5440494" y="-1667186"/>
                <a:ext cx="914400" cy="914400"/>
              </a:xfrm>
              <a:prstGeom prst="rect">
                <a:avLst/>
              </a:prstGeom>
            </p:spPr>
          </p:pic>
          <p:pic>
            <p:nvPicPr>
              <p:cNvPr id="84" name="Grafik 59" descr="Lupe mit einfarbiger Füllung">
                <a:extLst>
                  <a:ext uri="{FF2B5EF4-FFF2-40B4-BE49-F238E27FC236}">
                    <a16:creationId xmlns:a16="http://schemas.microsoft.com/office/drawing/2014/main" id="{FB82BA86-CD3C-4B99-8CC7-FBAA20BE88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bwMode="gray">
              <a:xfrm>
                <a:off x="5614670" y="-1497590"/>
                <a:ext cx="733296" cy="733296"/>
              </a:xfrm>
              <a:prstGeom prst="rect">
                <a:avLst/>
              </a:prstGeom>
            </p:spPr>
          </p:pic>
        </p:grpSp>
        <p:sp>
          <p:nvSpPr>
            <p:cNvPr id="82" name="Rechteck 61">
              <a:extLst>
                <a:ext uri="{FF2B5EF4-FFF2-40B4-BE49-F238E27FC236}">
                  <a16:creationId xmlns:a16="http://schemas.microsoft.com/office/drawing/2014/main" id="{986C99EB-103B-4BBB-9667-C950409B4B72}"/>
                </a:ext>
              </a:extLst>
            </p:cNvPr>
            <p:cNvSpPr/>
            <p:nvPr/>
          </p:nvSpPr>
          <p:spPr bwMode="gray">
            <a:xfrm>
              <a:off x="6503574" y="3462870"/>
              <a:ext cx="2580417" cy="419518"/>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lnSpc>
                  <a:spcPct val="105000"/>
                </a:lnSpc>
                <a:spcBef>
                  <a:spcPct val="0"/>
                </a:spcBef>
                <a:spcAft>
                  <a:spcPct val="0"/>
                </a:spcAft>
                <a:buClr>
                  <a:srgbClr val="E1000F"/>
                </a:buClr>
                <a:buSzPct val="120000"/>
              </a:pPr>
              <a:r>
                <a:rPr lang="es-ES" sz="1467" b="1" kern="0">
                  <a:solidFill>
                    <a:srgbClr val="000000"/>
                  </a:solidFill>
                  <a:latin typeface="Segoe UI"/>
                  <a:cs typeface="Segoe UI"/>
                  <a:sym typeface="Segoe UI"/>
                </a:rPr>
                <a:t>Reducción</a:t>
              </a:r>
              <a:r>
                <a:rPr lang="es-ES" sz="1467" kern="0">
                  <a:solidFill>
                    <a:srgbClr val="000000"/>
                  </a:solidFill>
                  <a:latin typeface="Segoe UI"/>
                  <a:cs typeface="Segoe UI"/>
                  <a:sym typeface="Segoe UI"/>
                </a:rPr>
                <a:t> de las </a:t>
              </a:r>
              <a:r>
                <a:rPr lang="es-ES" sz="1467" b="1" kern="0">
                  <a:solidFill>
                    <a:srgbClr val="000000"/>
                  </a:solidFill>
                  <a:latin typeface="Segoe UI"/>
                  <a:cs typeface="Segoe UI"/>
                  <a:sym typeface="Segoe UI"/>
                </a:rPr>
                <a:t>inspecciones manuales</a:t>
              </a:r>
              <a:r>
                <a:rPr lang="es-ES" sz="1467" kern="0">
                  <a:solidFill>
                    <a:srgbClr val="000000"/>
                  </a:solidFill>
                  <a:latin typeface="Segoe UI"/>
                  <a:cs typeface="Segoe UI"/>
                  <a:sym typeface="Segoe UI"/>
                </a:rPr>
                <a:t> y </a:t>
              </a:r>
              <a:r>
                <a:rPr lang="es-ES" sz="1467" b="1" kern="0">
                  <a:solidFill>
                    <a:srgbClr val="000000"/>
                  </a:solidFill>
                  <a:latin typeface="Segoe UI"/>
                  <a:cs typeface="Segoe UI"/>
                  <a:sym typeface="Segoe UI"/>
                </a:rPr>
                <a:t>eliminación del aislamiento</a:t>
              </a:r>
            </a:p>
          </p:txBody>
        </p:sp>
      </p:grpSp>
      <p:grpSp>
        <p:nvGrpSpPr>
          <p:cNvPr id="85" name="Gruppieren 13">
            <a:extLst>
              <a:ext uri="{FF2B5EF4-FFF2-40B4-BE49-F238E27FC236}">
                <a16:creationId xmlns:a16="http://schemas.microsoft.com/office/drawing/2014/main" id="{A849B206-9BC3-4BA1-A66F-1EDE8AE9C3CD}"/>
              </a:ext>
            </a:extLst>
          </p:cNvPr>
          <p:cNvGrpSpPr/>
          <p:nvPr/>
        </p:nvGrpSpPr>
        <p:grpSpPr>
          <a:xfrm>
            <a:off x="8119956" y="4910597"/>
            <a:ext cx="3936979" cy="696554"/>
            <a:chOff x="6089967" y="4114948"/>
            <a:chExt cx="2952734" cy="522416"/>
          </a:xfrm>
        </p:grpSpPr>
        <p:sp>
          <p:nvSpPr>
            <p:cNvPr id="86" name="Ellipse 48">
              <a:extLst>
                <a:ext uri="{FF2B5EF4-FFF2-40B4-BE49-F238E27FC236}">
                  <a16:creationId xmlns:a16="http://schemas.microsoft.com/office/drawing/2014/main" id="{08DBE801-F5E8-4E13-AEE7-F0AB9EF150F5}"/>
                </a:ext>
              </a:extLst>
            </p:cNvPr>
            <p:cNvSpPr/>
            <p:nvPr/>
          </p:nvSpPr>
          <p:spPr bwMode="gray">
            <a:xfrm>
              <a:off x="6089967" y="4114948"/>
              <a:ext cx="432000" cy="522416"/>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en-US" sz="2400" kern="0">
                <a:solidFill>
                  <a:srgbClr val="000000"/>
                </a:solidFill>
                <a:latin typeface="Segoe UI"/>
                <a:ea typeface="Segoe UI"/>
                <a:cs typeface="Segoe UI"/>
                <a:sym typeface="Segoe UI"/>
              </a:endParaRPr>
            </a:p>
          </p:txBody>
        </p:sp>
        <p:pic>
          <p:nvPicPr>
            <p:cNvPr id="87" name="Grafik 51" descr="Offene Hand mit Pflanze mit einfarbiger Füllung">
              <a:extLst>
                <a:ext uri="{FF2B5EF4-FFF2-40B4-BE49-F238E27FC236}">
                  <a16:creationId xmlns:a16="http://schemas.microsoft.com/office/drawing/2014/main" id="{FF64C6CF-403F-48A0-A402-0BFA76D5C99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bwMode="gray">
            <a:xfrm>
              <a:off x="6162232" y="4180971"/>
              <a:ext cx="287471" cy="287471"/>
            </a:xfrm>
            <a:prstGeom prst="rect">
              <a:avLst/>
            </a:prstGeom>
          </p:spPr>
        </p:pic>
        <p:sp>
          <p:nvSpPr>
            <p:cNvPr id="88" name="Rechteck 65">
              <a:extLst>
                <a:ext uri="{FF2B5EF4-FFF2-40B4-BE49-F238E27FC236}">
                  <a16:creationId xmlns:a16="http://schemas.microsoft.com/office/drawing/2014/main" id="{1038FC9B-5DE0-4D40-8693-70AA52A0BD1E}"/>
                </a:ext>
              </a:extLst>
            </p:cNvPr>
            <p:cNvSpPr/>
            <p:nvPr/>
          </p:nvSpPr>
          <p:spPr bwMode="gray">
            <a:xfrm>
              <a:off x="6503575" y="4129915"/>
              <a:ext cx="2539126" cy="419518"/>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lnSpc>
                  <a:spcPct val="105000"/>
                </a:lnSpc>
                <a:spcBef>
                  <a:spcPct val="0"/>
                </a:spcBef>
                <a:spcAft>
                  <a:spcPct val="0"/>
                </a:spcAft>
                <a:buClr>
                  <a:srgbClr val="E1000F"/>
                </a:buClr>
                <a:buSzPct val="120000"/>
              </a:pPr>
              <a:r>
                <a:rPr lang="es-ES" sz="1467" b="1" kern="0">
                  <a:solidFill>
                    <a:srgbClr val="000000"/>
                  </a:solidFill>
                  <a:latin typeface="Segoe UI"/>
                  <a:cs typeface="Segoe UI"/>
                  <a:sym typeface="Segoe UI"/>
                </a:rPr>
                <a:t>Detección precoz</a:t>
              </a:r>
              <a:r>
                <a:rPr lang="es-ES" sz="1467" kern="0">
                  <a:solidFill>
                    <a:srgbClr val="000000"/>
                  </a:solidFill>
                  <a:latin typeface="Segoe UI"/>
                  <a:cs typeface="Segoe UI"/>
                  <a:sym typeface="Segoe UI"/>
                </a:rPr>
                <a:t> de las</a:t>
              </a:r>
              <a:r>
                <a:rPr lang="es-ES" sz="1467" b="1" kern="0">
                  <a:solidFill>
                    <a:srgbClr val="000000"/>
                  </a:solidFill>
                  <a:latin typeface="Segoe UI"/>
                  <a:cs typeface="Segoe UI"/>
                  <a:sym typeface="Segoe UI"/>
                </a:rPr>
                <a:t> fugas </a:t>
              </a:r>
              <a:r>
                <a:rPr lang="es-ES" sz="1467" kern="0">
                  <a:solidFill>
                    <a:srgbClr val="000000"/>
                  </a:solidFill>
                  <a:latin typeface="Segoe UI"/>
                  <a:cs typeface="Segoe UI"/>
                  <a:sym typeface="Segoe UI"/>
                </a:rPr>
                <a:t>y por lo tanto </a:t>
              </a:r>
              <a:r>
                <a:rPr lang="es-ES" sz="1467" b="1" kern="0">
                  <a:solidFill>
                    <a:srgbClr val="000000"/>
                  </a:solidFill>
                  <a:latin typeface="Segoe UI"/>
                  <a:cs typeface="Segoe UI"/>
                  <a:sym typeface="Segoe UI"/>
                </a:rPr>
                <a:t>disminuyen los riesgos de salud y seguridad laborales</a:t>
              </a:r>
            </a:p>
          </p:txBody>
        </p:sp>
      </p:grpSp>
      <p:grpSp>
        <p:nvGrpSpPr>
          <p:cNvPr id="89" name="Gruppieren 11">
            <a:extLst>
              <a:ext uri="{FF2B5EF4-FFF2-40B4-BE49-F238E27FC236}">
                <a16:creationId xmlns:a16="http://schemas.microsoft.com/office/drawing/2014/main" id="{8D61BD7A-18A3-4B73-BB27-33F53D17ADC2}"/>
              </a:ext>
            </a:extLst>
          </p:cNvPr>
          <p:cNvGrpSpPr/>
          <p:nvPr/>
        </p:nvGrpSpPr>
        <p:grpSpPr>
          <a:xfrm>
            <a:off x="8119958" y="3427284"/>
            <a:ext cx="3523831" cy="576000"/>
            <a:chOff x="6089968" y="2798310"/>
            <a:chExt cx="2642873" cy="432000"/>
          </a:xfrm>
        </p:grpSpPr>
        <p:sp>
          <p:nvSpPr>
            <p:cNvPr id="90" name="Rechteck 7">
              <a:extLst>
                <a:ext uri="{FF2B5EF4-FFF2-40B4-BE49-F238E27FC236}">
                  <a16:creationId xmlns:a16="http://schemas.microsoft.com/office/drawing/2014/main" id="{623D20E8-609E-4D6D-B03F-33F41A6EC02C}"/>
                </a:ext>
              </a:extLst>
            </p:cNvPr>
            <p:cNvSpPr/>
            <p:nvPr/>
          </p:nvSpPr>
          <p:spPr bwMode="gray">
            <a:xfrm>
              <a:off x="6503575" y="2804551"/>
              <a:ext cx="2229266" cy="419518"/>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lnSpc>
                  <a:spcPct val="105000"/>
                </a:lnSpc>
                <a:spcBef>
                  <a:spcPct val="0"/>
                </a:spcBef>
                <a:spcAft>
                  <a:spcPct val="0"/>
                </a:spcAft>
                <a:buClr>
                  <a:srgbClr val="E1000F"/>
                </a:buClr>
                <a:buSzPct val="120000"/>
              </a:pPr>
              <a:r>
                <a:rPr lang="es-ES" sz="1467" kern="0">
                  <a:solidFill>
                    <a:srgbClr val="000000"/>
                  </a:solidFill>
                  <a:latin typeface="Segoe UI"/>
                  <a:cs typeface="Segoe UI"/>
                  <a:sym typeface="Segoe UI"/>
                </a:rPr>
                <a:t>Nivel </a:t>
              </a:r>
              <a:r>
                <a:rPr lang="es-ES" sz="1467" b="1" kern="0">
                  <a:solidFill>
                    <a:srgbClr val="000000"/>
                  </a:solidFill>
                  <a:latin typeface="Segoe UI"/>
                  <a:cs typeface="Segoe UI"/>
                  <a:sym typeface="Segoe UI"/>
                </a:rPr>
                <a:t>secundario</a:t>
              </a:r>
              <a:r>
                <a:rPr lang="es-ES" sz="1467" kern="0">
                  <a:solidFill>
                    <a:srgbClr val="000000"/>
                  </a:solidFill>
                  <a:latin typeface="Segoe UI"/>
                  <a:cs typeface="Segoe UI"/>
                  <a:sym typeface="Segoe UI"/>
                </a:rPr>
                <a:t> de seguridad</a:t>
              </a:r>
            </a:p>
          </p:txBody>
        </p:sp>
        <p:grpSp>
          <p:nvGrpSpPr>
            <p:cNvPr id="91" name="Gruppieren 2">
              <a:extLst>
                <a:ext uri="{FF2B5EF4-FFF2-40B4-BE49-F238E27FC236}">
                  <a16:creationId xmlns:a16="http://schemas.microsoft.com/office/drawing/2014/main" id="{283BF9E3-14BC-45EF-9271-EC48C1CEEC7D}"/>
                </a:ext>
              </a:extLst>
            </p:cNvPr>
            <p:cNvGrpSpPr/>
            <p:nvPr/>
          </p:nvGrpSpPr>
          <p:grpSpPr>
            <a:xfrm>
              <a:off x="6089968" y="2798310"/>
              <a:ext cx="432000" cy="432000"/>
              <a:chOff x="6567905" y="2879286"/>
              <a:chExt cx="432000" cy="432000"/>
            </a:xfrm>
          </p:grpSpPr>
          <p:sp>
            <p:nvSpPr>
              <p:cNvPr id="92" name="Ellipse 60">
                <a:extLst>
                  <a:ext uri="{FF2B5EF4-FFF2-40B4-BE49-F238E27FC236}">
                    <a16:creationId xmlns:a16="http://schemas.microsoft.com/office/drawing/2014/main" id="{FA5A7ADA-1E63-4D1A-A45D-DEBA2EB0FB37}"/>
                  </a:ext>
                </a:extLst>
              </p:cNvPr>
              <p:cNvSpPr/>
              <p:nvPr/>
            </p:nvSpPr>
            <p:spPr bwMode="gray">
              <a:xfrm>
                <a:off x="6567905" y="2879286"/>
                <a:ext cx="432000" cy="432000"/>
              </a:xfrm>
              <a:prstGeom prst="ellipse">
                <a:avLst/>
              </a:prstGeom>
              <a:solidFill>
                <a:srgbClr val="E10413"/>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cs typeface="Segoe UI"/>
                  <a:sym typeface="Segoe UI"/>
                </a:endParaRPr>
              </a:p>
            </p:txBody>
          </p:sp>
          <p:grpSp>
            <p:nvGrpSpPr>
              <p:cNvPr id="93" name="Group">
                <a:extLst>
                  <a:ext uri="{FF2B5EF4-FFF2-40B4-BE49-F238E27FC236}">
                    <a16:creationId xmlns:a16="http://schemas.microsoft.com/office/drawing/2014/main" id="{3F6B5444-9491-43E7-9A3F-E7DBB07C49D7}"/>
                  </a:ext>
                </a:extLst>
              </p:cNvPr>
              <p:cNvGrpSpPr/>
              <p:nvPr/>
            </p:nvGrpSpPr>
            <p:grpSpPr bwMode="gray">
              <a:xfrm>
                <a:off x="6624211" y="2935592"/>
                <a:ext cx="319387" cy="319387"/>
                <a:chOff x="0" y="-1"/>
                <a:chExt cx="818151" cy="818152"/>
              </a:xfrm>
            </p:grpSpPr>
            <p:pic>
              <p:nvPicPr>
                <p:cNvPr id="94" name="Grafik 24" descr="Grafik 24">
                  <a:extLst>
                    <a:ext uri="{FF2B5EF4-FFF2-40B4-BE49-F238E27FC236}">
                      <a16:creationId xmlns:a16="http://schemas.microsoft.com/office/drawing/2014/main" id="{A9D9E3EA-08F1-4483-BA97-F5AB7E47F26D}"/>
                    </a:ext>
                  </a:extLst>
                </p:cNvPr>
                <p:cNvPicPr>
                  <a:picLocks noChangeAspect="1"/>
                </p:cNvPicPr>
                <p:nvPr/>
              </p:nvPicPr>
              <p:blipFill>
                <a:blip r:embed="rId16"/>
                <a:stretch>
                  <a:fillRect/>
                </a:stretch>
              </p:blipFill>
              <p:spPr bwMode="gray">
                <a:xfrm>
                  <a:off x="0" y="-1"/>
                  <a:ext cx="818151" cy="818152"/>
                </a:xfrm>
                <a:prstGeom prst="rect">
                  <a:avLst/>
                </a:prstGeom>
                <a:ln w="12700" cap="flat">
                  <a:noFill/>
                  <a:miter lim="400000"/>
                </a:ln>
                <a:effectLst/>
              </p:spPr>
            </p:pic>
            <p:pic>
              <p:nvPicPr>
                <p:cNvPr id="95" name="Grafik 34" descr="Grafik 34">
                  <a:extLst>
                    <a:ext uri="{FF2B5EF4-FFF2-40B4-BE49-F238E27FC236}">
                      <a16:creationId xmlns:a16="http://schemas.microsoft.com/office/drawing/2014/main" id="{CC42CEDA-8010-41FD-9464-B4BA290027DC}"/>
                    </a:ext>
                  </a:extLst>
                </p:cNvPr>
                <p:cNvPicPr>
                  <a:picLocks noChangeAspect="1"/>
                </p:cNvPicPr>
                <p:nvPr/>
              </p:nvPicPr>
              <p:blipFill>
                <a:blip r:embed="rId17"/>
                <a:stretch>
                  <a:fillRect/>
                </a:stretch>
              </p:blipFill>
              <p:spPr bwMode="gray">
                <a:xfrm>
                  <a:off x="208163" y="166827"/>
                  <a:ext cx="398541" cy="398541"/>
                </a:xfrm>
                <a:prstGeom prst="rect">
                  <a:avLst/>
                </a:prstGeom>
                <a:ln w="12700" cap="flat">
                  <a:noFill/>
                  <a:miter lim="400000"/>
                </a:ln>
                <a:effectLst/>
              </p:spPr>
            </p:pic>
          </p:grpSp>
        </p:grpSp>
      </p:grpSp>
      <p:pic>
        <p:nvPicPr>
          <p:cNvPr id="96" name="Grafik 8" descr="Videokamera mit einfarbiger Füllung">
            <a:extLst>
              <a:ext uri="{FF2B5EF4-FFF2-40B4-BE49-F238E27FC236}">
                <a16:creationId xmlns:a16="http://schemas.microsoft.com/office/drawing/2014/main" id="{950C27C0-4E60-4244-8070-68EF3446259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192035" y="5669722"/>
            <a:ext cx="485911" cy="485911"/>
          </a:xfrm>
          <a:prstGeom prst="rect">
            <a:avLst/>
          </a:prstGeom>
        </p:spPr>
      </p:pic>
      <p:sp>
        <p:nvSpPr>
          <p:cNvPr id="97" name="Textfeld 9">
            <a:extLst>
              <a:ext uri="{FF2B5EF4-FFF2-40B4-BE49-F238E27FC236}">
                <a16:creationId xmlns:a16="http://schemas.microsoft.com/office/drawing/2014/main" id="{938BF809-F61B-4B9B-A0F5-5353ABB555DA}"/>
              </a:ext>
            </a:extLst>
          </p:cNvPr>
          <p:cNvSpPr txBox="1"/>
          <p:nvPr/>
        </p:nvSpPr>
        <p:spPr>
          <a:xfrm>
            <a:off x="8695957" y="5742960"/>
            <a:ext cx="2972289" cy="332720"/>
          </a:xfrm>
          <a:prstGeom prst="rect">
            <a:avLst/>
          </a:prstGeom>
          <a:noFill/>
        </p:spPr>
        <p:txBody>
          <a:bodyPr wrap="none" rtlCol="0">
            <a:spAutoFit/>
          </a:bodyPr>
          <a:lstStyle/>
          <a:p>
            <a:pPr defTabSz="1219170" hangingPunct="0">
              <a:lnSpc>
                <a:spcPct val="105000"/>
              </a:lnSpc>
            </a:pPr>
            <a:r>
              <a:rPr lang="es-ES" sz="1600" b="1" kern="0">
                <a:solidFill>
                  <a:srgbClr val="000000"/>
                </a:solidFill>
                <a:latin typeface="Segoe UI"/>
                <a:cs typeface="Segoe UI"/>
                <a:sym typeface="Segoe UI"/>
                <a:hlinkClick r:id="rId20"/>
              </a:rPr>
              <a:t>Vídeo de una Aplicación Real</a:t>
            </a:r>
          </a:p>
        </p:txBody>
      </p:sp>
      <p:sp>
        <p:nvSpPr>
          <p:cNvPr id="98" name="Title 4">
            <a:extLst>
              <a:ext uri="{FF2B5EF4-FFF2-40B4-BE49-F238E27FC236}">
                <a16:creationId xmlns:a16="http://schemas.microsoft.com/office/drawing/2014/main" id="{1B49952A-C5F9-4329-A505-FE652FCA28E7}"/>
              </a:ext>
            </a:extLst>
          </p:cNvPr>
          <p:cNvSpPr>
            <a:spLocks noGrp="1"/>
          </p:cNvSpPr>
          <p:nvPr>
            <p:ph type="title"/>
          </p:nvPr>
        </p:nvSpPr>
        <p:spPr bwMode="gray">
          <a:xfrm>
            <a:off x="586915" y="254205"/>
            <a:ext cx="11000317" cy="379508"/>
          </a:xfrm>
        </p:spPr>
        <p:txBody>
          <a:bodyPr vert="horz"/>
          <a:lstStyle/>
          <a:p>
            <a:r>
              <a:rPr lang="es-ES" sz="3200"/>
              <a:t>Como ayudamos a una refinería mediante la detección Inteligente de Fugas a reducir costes y tiempos de paradas no planificadas</a:t>
            </a:r>
          </a:p>
        </p:txBody>
      </p:sp>
      <p:sp>
        <p:nvSpPr>
          <p:cNvPr id="99" name="Subtitle 5">
            <a:extLst>
              <a:ext uri="{FF2B5EF4-FFF2-40B4-BE49-F238E27FC236}">
                <a16:creationId xmlns:a16="http://schemas.microsoft.com/office/drawing/2014/main" id="{ADDA4D94-BFD8-4BC4-A334-6C63B0EDD937}"/>
              </a:ext>
            </a:extLst>
          </p:cNvPr>
          <p:cNvSpPr>
            <a:spLocks noGrp="1"/>
          </p:cNvSpPr>
          <p:nvPr>
            <p:ph type="subTitle" idx="14"/>
          </p:nvPr>
        </p:nvSpPr>
        <p:spPr bwMode="gray">
          <a:xfrm>
            <a:off x="601133" y="1144891"/>
            <a:ext cx="11000316" cy="379508"/>
          </a:xfrm>
        </p:spPr>
        <p:txBody>
          <a:bodyPr/>
          <a:lstStyle/>
          <a:p>
            <a:endParaRPr lang="en-US"/>
          </a:p>
          <a:p>
            <a:r>
              <a:rPr lang="es-ES" sz="2133"/>
              <a:t>APLICACIÓN REAL – Refinería Alemana</a:t>
            </a:r>
          </a:p>
          <a:p>
            <a:endParaRPr lang="en-US"/>
          </a:p>
        </p:txBody>
      </p:sp>
    </p:spTree>
    <p:extLst>
      <p:ext uri="{BB962C8B-B14F-4D97-AF65-F5344CB8AC3E}">
        <p14:creationId xmlns:p14="http://schemas.microsoft.com/office/powerpoint/2010/main" val="364515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ppt_x"/>
                                          </p:val>
                                        </p:tav>
                                        <p:tav tm="100000">
                                          <p:val>
                                            <p:strVal val="#ppt_x"/>
                                          </p:val>
                                        </p:tav>
                                      </p:tavLst>
                                    </p:anim>
                                    <p:anim calcmode="lin" valueType="num">
                                      <p:cBhvr additive="base">
                                        <p:cTn id="8" dur="500" fill="hold"/>
                                        <p:tgtEl>
                                          <p:spTgt spid="6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6"/>
                                        </p:tgtEl>
                                        <p:attrNameLst>
                                          <p:attrName>style.visibility</p:attrName>
                                        </p:attrNameLst>
                                      </p:cBhvr>
                                      <p:to>
                                        <p:strVal val="visible"/>
                                      </p:to>
                                    </p:set>
                                    <p:animEffect transition="in" filter="fade">
                                      <p:cBhvr>
                                        <p:cTn id="13" dur="500"/>
                                        <p:tgtEl>
                                          <p:spTgt spid="7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89"/>
                                        </p:tgtEl>
                                        <p:attrNameLst>
                                          <p:attrName>style.visibility</p:attrName>
                                        </p:attrNameLst>
                                      </p:cBhvr>
                                      <p:to>
                                        <p:strVal val="visible"/>
                                      </p:to>
                                    </p:set>
                                    <p:animEffect transition="in" filter="fade">
                                      <p:cBhvr>
                                        <p:cTn id="20" dur="500"/>
                                        <p:tgtEl>
                                          <p:spTgt spid="8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78"/>
                                        </p:tgtEl>
                                        <p:attrNameLst>
                                          <p:attrName>style.visibility</p:attrName>
                                        </p:attrNameLst>
                                      </p:cBhvr>
                                      <p:to>
                                        <p:strVal val="visible"/>
                                      </p:to>
                                    </p:set>
                                    <p:animEffect transition="in" filter="fade">
                                      <p:cBhvr>
                                        <p:cTn id="24" dur="500"/>
                                        <p:tgtEl>
                                          <p:spTgt spid="7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85"/>
                                        </p:tgtEl>
                                        <p:attrNameLst>
                                          <p:attrName>style.visibility</p:attrName>
                                        </p:attrNameLst>
                                      </p:cBhvr>
                                      <p:to>
                                        <p:strVal val="visible"/>
                                      </p:to>
                                    </p:set>
                                    <p:animEffect transition="in" filter="fade">
                                      <p:cBhvr>
                                        <p:cTn id="28"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A hand holding a red cell phone&#10;&#10;Description automatically generated with low confidence">
            <a:extLst>
              <a:ext uri="{FF2B5EF4-FFF2-40B4-BE49-F238E27FC236}">
                <a16:creationId xmlns:a16="http://schemas.microsoft.com/office/drawing/2014/main" id="{4EE53BF0-B6E1-4E0B-BDCD-876975ADBAEA}"/>
              </a:ext>
            </a:extLst>
          </p:cNvPr>
          <p:cNvPicPr>
            <a:picLocks noChangeAspect="1"/>
          </p:cNvPicPr>
          <p:nvPr/>
        </p:nvPicPr>
        <p:blipFill rotWithShape="1">
          <a:blip r:embed="rId3"/>
          <a:srcRect b="21576"/>
          <a:stretch/>
        </p:blipFill>
        <p:spPr bwMode="gray">
          <a:xfrm>
            <a:off x="593779" y="866523"/>
            <a:ext cx="3494747" cy="5991477"/>
          </a:xfrm>
          <a:prstGeom prst="rect">
            <a:avLst/>
          </a:prstGeom>
        </p:spPr>
      </p:pic>
      <p:graphicFrame>
        <p:nvGraphicFramePr>
          <p:cNvPr id="22" name="Objekt 21" hidden="1">
            <a:extLst>
              <a:ext uri="{FF2B5EF4-FFF2-40B4-BE49-F238E27FC236}">
                <a16:creationId xmlns:a16="http://schemas.microsoft.com/office/drawing/2014/main" id="{2C524B25-5F94-4848-99CF-8DFAD8FF895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498" imgH="499" progId="TCLayout.ActiveDocument.1">
                  <p:embed/>
                </p:oleObj>
              </mc:Choice>
              <mc:Fallback>
                <p:oleObj name="think-cell Folie" r:id="rId4" imgW="498" imgH="499" progId="TCLayout.ActiveDocument.1">
                  <p:embed/>
                  <p:pic>
                    <p:nvPicPr>
                      <p:cNvPr id="22" name="Objekt 21" hidden="1">
                        <a:extLst>
                          <a:ext uri="{FF2B5EF4-FFF2-40B4-BE49-F238E27FC236}">
                            <a16:creationId xmlns:a16="http://schemas.microsoft.com/office/drawing/2014/main" id="{2C524B25-5F94-4848-99CF-8DFAD8FF895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9DFFB3-23FF-48E2-AEE6-1D6EC79B1E69}"/>
              </a:ext>
            </a:extLst>
          </p:cNvPr>
          <p:cNvSpPr>
            <a:spLocks noGrp="1"/>
          </p:cNvSpPr>
          <p:nvPr>
            <p:ph type="title"/>
          </p:nvPr>
        </p:nvSpPr>
        <p:spPr bwMode="gray">
          <a:xfrm>
            <a:off x="586064" y="235579"/>
            <a:ext cx="4635944" cy="379508"/>
          </a:xfrm>
        </p:spPr>
        <p:txBody>
          <a:bodyPr vert="horz"/>
          <a:lstStyle/>
          <a:p>
            <a:r>
              <a:rPr lang="es-ES" sz="3200"/>
              <a:t>¡Veamos!</a:t>
            </a:r>
          </a:p>
        </p:txBody>
      </p:sp>
      <p:sp>
        <p:nvSpPr>
          <p:cNvPr id="3" name="Untertitel 2">
            <a:extLst>
              <a:ext uri="{FF2B5EF4-FFF2-40B4-BE49-F238E27FC236}">
                <a16:creationId xmlns:a16="http://schemas.microsoft.com/office/drawing/2014/main" id="{CBE47100-EE9D-4EDD-81F6-E9B8DCDAC8FF}"/>
              </a:ext>
            </a:extLst>
          </p:cNvPr>
          <p:cNvSpPr>
            <a:spLocks noGrp="1"/>
          </p:cNvSpPr>
          <p:nvPr>
            <p:ph type="subTitle" idx="14"/>
          </p:nvPr>
        </p:nvSpPr>
        <p:spPr bwMode="gray">
          <a:xfrm>
            <a:off x="586065" y="833205"/>
            <a:ext cx="5691321" cy="379508"/>
          </a:xfrm>
        </p:spPr>
        <p:txBody>
          <a:bodyPr/>
          <a:lstStyle/>
          <a:p>
            <a:r>
              <a:rPr lang="es-ES" sz="2133"/>
              <a:t>Demostración: ¡Escanea el código QR!</a:t>
            </a:r>
          </a:p>
        </p:txBody>
      </p:sp>
      <p:grpSp>
        <p:nvGrpSpPr>
          <p:cNvPr id="23" name="Gruppieren 22">
            <a:extLst>
              <a:ext uri="{FF2B5EF4-FFF2-40B4-BE49-F238E27FC236}">
                <a16:creationId xmlns:a16="http://schemas.microsoft.com/office/drawing/2014/main" id="{EC447DBC-57A3-40C5-BD2F-A60A5864AE09}"/>
              </a:ext>
            </a:extLst>
          </p:cNvPr>
          <p:cNvGrpSpPr/>
          <p:nvPr/>
        </p:nvGrpSpPr>
        <p:grpSpPr bwMode="gray">
          <a:xfrm>
            <a:off x="11564326" y="162392"/>
            <a:ext cx="547663" cy="683491"/>
            <a:chOff x="8673244" y="121794"/>
            <a:chExt cx="410747" cy="512618"/>
          </a:xfrm>
        </p:grpSpPr>
        <p:grpSp>
          <p:nvGrpSpPr>
            <p:cNvPr id="24" name="Gruppieren 23">
              <a:extLst>
                <a:ext uri="{FF2B5EF4-FFF2-40B4-BE49-F238E27FC236}">
                  <a16:creationId xmlns:a16="http://schemas.microsoft.com/office/drawing/2014/main" id="{478FB8AB-E1E9-4609-9E55-2132E710FCAD}"/>
                </a:ext>
              </a:extLst>
            </p:cNvPr>
            <p:cNvGrpSpPr/>
            <p:nvPr/>
          </p:nvGrpSpPr>
          <p:grpSpPr bwMode="gray">
            <a:xfrm>
              <a:off x="8673244" y="121794"/>
              <a:ext cx="410747" cy="512618"/>
              <a:chOff x="8166407" y="354405"/>
              <a:chExt cx="564701" cy="704754"/>
            </a:xfrm>
          </p:grpSpPr>
          <p:sp>
            <p:nvSpPr>
              <p:cNvPr id="26" name="Circle">
                <a:hlinkClick r:id="" action="ppaction://noaction"/>
                <a:extLst>
                  <a:ext uri="{FF2B5EF4-FFF2-40B4-BE49-F238E27FC236}">
                    <a16:creationId xmlns:a16="http://schemas.microsoft.com/office/drawing/2014/main" id="{E14446D6-5258-4457-BD14-F0B820B782A2}"/>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27" name="Rectangle 17">
                <a:extLst>
                  <a:ext uri="{FF2B5EF4-FFF2-40B4-BE49-F238E27FC236}">
                    <a16:creationId xmlns:a16="http://schemas.microsoft.com/office/drawing/2014/main" id="{EF09BBCF-E99B-432B-90F3-54B39A5B545A}"/>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25" name="Grafik 24" descr="Zurück mit einfarbiger Füllung">
              <a:hlinkClick r:id="" action="ppaction://noaction"/>
              <a:extLst>
                <a:ext uri="{FF2B5EF4-FFF2-40B4-BE49-F238E27FC236}">
                  <a16:creationId xmlns:a16="http://schemas.microsoft.com/office/drawing/2014/main" id="{F07CAD12-1D3C-4B54-ACD5-CDAD97289A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8732841" y="132370"/>
              <a:ext cx="285750" cy="285750"/>
            </a:xfrm>
            <a:prstGeom prst="rect">
              <a:avLst/>
            </a:prstGeom>
          </p:spPr>
        </p:pic>
      </p:grpSp>
      <p:sp>
        <p:nvSpPr>
          <p:cNvPr id="58" name="TextBox 57">
            <a:extLst>
              <a:ext uri="{FF2B5EF4-FFF2-40B4-BE49-F238E27FC236}">
                <a16:creationId xmlns:a16="http://schemas.microsoft.com/office/drawing/2014/main" id="{92FBFD0B-5C3D-4B41-ADFC-359A64BAD465}"/>
              </a:ext>
            </a:extLst>
          </p:cNvPr>
          <p:cNvSpPr txBox="1"/>
          <p:nvPr/>
        </p:nvSpPr>
        <p:spPr bwMode="gray">
          <a:xfrm>
            <a:off x="10549545" y="815746"/>
            <a:ext cx="1450464" cy="508024"/>
          </a:xfrm>
          <a:prstGeom prst="rect">
            <a:avLst/>
          </a:prstGeom>
          <a:noFill/>
        </p:spPr>
        <p:txBody>
          <a:bodyPr wrap="square" rtlCol="0">
            <a:spAutoFit/>
          </a:bodyPr>
          <a:lstStyle/>
          <a:p>
            <a:pPr defTabSz="1219170" hangingPunct="0">
              <a:lnSpc>
                <a:spcPct val="105000"/>
              </a:lnSpc>
            </a:pPr>
            <a:r>
              <a:rPr lang="es-ES" sz="1333" kern="0">
                <a:solidFill>
                  <a:srgbClr val="000000"/>
                </a:solidFill>
                <a:latin typeface="Segoe UI"/>
                <a:cs typeface="Segoe UI"/>
                <a:sym typeface="Segoe UI"/>
              </a:rPr>
              <a:t>DemoUser</a:t>
            </a:r>
          </a:p>
          <a:p>
            <a:pPr defTabSz="1219170" hangingPunct="0">
              <a:lnSpc>
                <a:spcPct val="105000"/>
              </a:lnSpc>
            </a:pPr>
            <a:r>
              <a:rPr lang="es-ES" sz="1333" kern="0">
                <a:solidFill>
                  <a:srgbClr val="000000"/>
                </a:solidFill>
                <a:latin typeface="Segoe UI"/>
                <a:cs typeface="Segoe UI"/>
                <a:sym typeface="Segoe UI"/>
              </a:rPr>
              <a:t>DemoUser1453!</a:t>
            </a:r>
          </a:p>
        </p:txBody>
      </p:sp>
      <p:grpSp>
        <p:nvGrpSpPr>
          <p:cNvPr id="59" name="Group 58">
            <a:extLst>
              <a:ext uri="{FF2B5EF4-FFF2-40B4-BE49-F238E27FC236}">
                <a16:creationId xmlns:a16="http://schemas.microsoft.com/office/drawing/2014/main" id="{432F2F88-4F07-49AD-AA82-F98C97812600}"/>
              </a:ext>
            </a:extLst>
          </p:cNvPr>
          <p:cNvGrpSpPr/>
          <p:nvPr/>
        </p:nvGrpSpPr>
        <p:grpSpPr bwMode="gray">
          <a:xfrm>
            <a:off x="9609108" y="166160"/>
            <a:ext cx="940437" cy="1155065"/>
            <a:chOff x="8247113" y="38626"/>
            <a:chExt cx="848954" cy="1042704"/>
          </a:xfrm>
        </p:grpSpPr>
        <p:pic>
          <p:nvPicPr>
            <p:cNvPr id="60" name="Picture 7">
              <a:extLst>
                <a:ext uri="{FF2B5EF4-FFF2-40B4-BE49-F238E27FC236}">
                  <a16:creationId xmlns:a16="http://schemas.microsoft.com/office/drawing/2014/main" id="{336EBB59-F8A2-4ACE-A719-C7D67E7BF73B}"/>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bwMode="gray">
            <a:xfrm>
              <a:off x="8247113" y="38626"/>
              <a:ext cx="848954" cy="1042704"/>
            </a:xfrm>
            <a:prstGeom prst="rect">
              <a:avLst/>
            </a:prstGeom>
          </p:spPr>
        </p:pic>
        <p:pic>
          <p:nvPicPr>
            <p:cNvPr id="61" name="Picture 60">
              <a:extLst>
                <a:ext uri="{FF2B5EF4-FFF2-40B4-BE49-F238E27FC236}">
                  <a16:creationId xmlns:a16="http://schemas.microsoft.com/office/drawing/2014/main" id="{9733BC22-7CB3-46D9-89A6-8422B60C343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gray">
            <a:xfrm>
              <a:off x="8304028" y="94984"/>
              <a:ext cx="737708" cy="732979"/>
            </a:xfrm>
            <a:prstGeom prst="rect">
              <a:avLst/>
            </a:prstGeom>
          </p:spPr>
        </p:pic>
      </p:grpSp>
      <p:grpSp>
        <p:nvGrpSpPr>
          <p:cNvPr id="41" name="Gruppieren 27">
            <a:extLst>
              <a:ext uri="{FF2B5EF4-FFF2-40B4-BE49-F238E27FC236}">
                <a16:creationId xmlns:a16="http://schemas.microsoft.com/office/drawing/2014/main" id="{790918CB-9806-40A7-A432-A4552119090B}"/>
              </a:ext>
            </a:extLst>
          </p:cNvPr>
          <p:cNvGrpSpPr/>
          <p:nvPr/>
        </p:nvGrpSpPr>
        <p:grpSpPr bwMode="gray">
          <a:xfrm>
            <a:off x="3559194" y="3780057"/>
            <a:ext cx="291100" cy="652459"/>
            <a:chOff x="0" y="-1"/>
            <a:chExt cx="229333" cy="514017"/>
          </a:xfrm>
        </p:grpSpPr>
        <p:pic>
          <p:nvPicPr>
            <p:cNvPr id="62" name="Freihand 28" descr="Freihand 28">
              <a:extLst>
                <a:ext uri="{FF2B5EF4-FFF2-40B4-BE49-F238E27FC236}">
                  <a16:creationId xmlns:a16="http://schemas.microsoft.com/office/drawing/2014/main" id="{DE738615-635A-4284-A68A-7DD376815A0E}"/>
                </a:ext>
              </a:extLst>
            </p:cNvPr>
            <p:cNvPicPr>
              <a:picLocks noChangeAspect="1"/>
            </p:cNvPicPr>
            <p:nvPr/>
          </p:nvPicPr>
          <p:blipFill>
            <a:blip r:embed="rId10"/>
            <a:stretch>
              <a:fillRect/>
            </a:stretch>
          </p:blipFill>
          <p:spPr bwMode="gray">
            <a:xfrm rot="281906">
              <a:off x="9825" y="8169"/>
              <a:ext cx="209682" cy="248519"/>
            </a:xfrm>
            <a:prstGeom prst="rect">
              <a:avLst/>
            </a:prstGeom>
            <a:ln w="12700" cap="flat">
              <a:noFill/>
              <a:miter lim="400000"/>
            </a:ln>
            <a:effectLst/>
          </p:spPr>
        </p:pic>
        <p:pic>
          <p:nvPicPr>
            <p:cNvPr id="63" name="Freihand 29" descr="Freihand 29">
              <a:extLst>
                <a:ext uri="{FF2B5EF4-FFF2-40B4-BE49-F238E27FC236}">
                  <a16:creationId xmlns:a16="http://schemas.microsoft.com/office/drawing/2014/main" id="{2645F055-19FA-497F-AEB1-D2FA5ACADFD7}"/>
                </a:ext>
              </a:extLst>
            </p:cNvPr>
            <p:cNvPicPr>
              <a:picLocks noChangeAspect="1"/>
            </p:cNvPicPr>
            <p:nvPr/>
          </p:nvPicPr>
          <p:blipFill>
            <a:blip r:embed="rId11"/>
            <a:stretch>
              <a:fillRect/>
            </a:stretch>
          </p:blipFill>
          <p:spPr bwMode="gray">
            <a:xfrm rot="281906">
              <a:off x="26679" y="225821"/>
              <a:ext cx="161341" cy="282062"/>
            </a:xfrm>
            <a:prstGeom prst="rect">
              <a:avLst/>
            </a:prstGeom>
            <a:ln w="12700" cap="flat">
              <a:noFill/>
              <a:miter lim="400000"/>
            </a:ln>
            <a:effectLst/>
          </p:spPr>
        </p:pic>
        <p:pic>
          <p:nvPicPr>
            <p:cNvPr id="64" name="Freihand 30" descr="Freihand 30">
              <a:extLst>
                <a:ext uri="{FF2B5EF4-FFF2-40B4-BE49-F238E27FC236}">
                  <a16:creationId xmlns:a16="http://schemas.microsoft.com/office/drawing/2014/main" id="{A1155296-BE2F-4558-8B73-EF8023703769}"/>
                </a:ext>
              </a:extLst>
            </p:cNvPr>
            <p:cNvPicPr>
              <a:picLocks noChangeAspect="1"/>
            </p:cNvPicPr>
            <p:nvPr/>
          </p:nvPicPr>
          <p:blipFill>
            <a:blip r:embed="rId12"/>
            <a:stretch>
              <a:fillRect/>
            </a:stretch>
          </p:blipFill>
          <p:spPr bwMode="gray">
            <a:xfrm rot="281906">
              <a:off x="26755" y="77841"/>
              <a:ext cx="28845" cy="365340"/>
            </a:xfrm>
            <a:prstGeom prst="rect">
              <a:avLst/>
            </a:prstGeom>
            <a:ln w="12700" cap="flat">
              <a:noFill/>
              <a:miter lim="400000"/>
            </a:ln>
            <a:effectLst/>
          </p:spPr>
        </p:pic>
      </p:grpSp>
      <p:grpSp>
        <p:nvGrpSpPr>
          <p:cNvPr id="65" name="Gruppieren 27">
            <a:extLst>
              <a:ext uri="{FF2B5EF4-FFF2-40B4-BE49-F238E27FC236}">
                <a16:creationId xmlns:a16="http://schemas.microsoft.com/office/drawing/2014/main" id="{6DC85C54-95A6-41E2-A5D7-7E8DFA89580A}"/>
              </a:ext>
            </a:extLst>
          </p:cNvPr>
          <p:cNvGrpSpPr/>
          <p:nvPr/>
        </p:nvGrpSpPr>
        <p:grpSpPr bwMode="gray">
          <a:xfrm>
            <a:off x="6277389" y="3780057"/>
            <a:ext cx="291100" cy="652459"/>
            <a:chOff x="0" y="-1"/>
            <a:chExt cx="229333" cy="514017"/>
          </a:xfrm>
        </p:grpSpPr>
        <p:pic>
          <p:nvPicPr>
            <p:cNvPr id="66" name="Freihand 28" descr="Freihand 28">
              <a:extLst>
                <a:ext uri="{FF2B5EF4-FFF2-40B4-BE49-F238E27FC236}">
                  <a16:creationId xmlns:a16="http://schemas.microsoft.com/office/drawing/2014/main" id="{15187167-C501-4862-9C56-4E5FF17D3130}"/>
                </a:ext>
              </a:extLst>
            </p:cNvPr>
            <p:cNvPicPr>
              <a:picLocks noChangeAspect="1"/>
            </p:cNvPicPr>
            <p:nvPr/>
          </p:nvPicPr>
          <p:blipFill>
            <a:blip r:embed="rId10"/>
            <a:stretch>
              <a:fillRect/>
            </a:stretch>
          </p:blipFill>
          <p:spPr bwMode="gray">
            <a:xfrm rot="281906">
              <a:off x="9825" y="8169"/>
              <a:ext cx="209682" cy="248519"/>
            </a:xfrm>
            <a:prstGeom prst="rect">
              <a:avLst/>
            </a:prstGeom>
            <a:ln w="12700" cap="flat">
              <a:noFill/>
              <a:miter lim="400000"/>
            </a:ln>
            <a:effectLst/>
          </p:spPr>
        </p:pic>
        <p:pic>
          <p:nvPicPr>
            <p:cNvPr id="67" name="Freihand 29" descr="Freihand 29">
              <a:extLst>
                <a:ext uri="{FF2B5EF4-FFF2-40B4-BE49-F238E27FC236}">
                  <a16:creationId xmlns:a16="http://schemas.microsoft.com/office/drawing/2014/main" id="{1A589A07-B106-4191-A057-7FA0F06DF4A1}"/>
                </a:ext>
              </a:extLst>
            </p:cNvPr>
            <p:cNvPicPr>
              <a:picLocks noChangeAspect="1"/>
            </p:cNvPicPr>
            <p:nvPr/>
          </p:nvPicPr>
          <p:blipFill>
            <a:blip r:embed="rId11"/>
            <a:stretch>
              <a:fillRect/>
            </a:stretch>
          </p:blipFill>
          <p:spPr bwMode="gray">
            <a:xfrm rot="281906">
              <a:off x="26679" y="225821"/>
              <a:ext cx="161341" cy="282062"/>
            </a:xfrm>
            <a:prstGeom prst="rect">
              <a:avLst/>
            </a:prstGeom>
            <a:ln w="12700" cap="flat">
              <a:noFill/>
              <a:miter lim="400000"/>
            </a:ln>
            <a:effectLst/>
          </p:spPr>
        </p:pic>
        <p:pic>
          <p:nvPicPr>
            <p:cNvPr id="68" name="Freihand 30" descr="Freihand 30">
              <a:extLst>
                <a:ext uri="{FF2B5EF4-FFF2-40B4-BE49-F238E27FC236}">
                  <a16:creationId xmlns:a16="http://schemas.microsoft.com/office/drawing/2014/main" id="{2DC41EEF-319B-4872-8FDD-603A1A065DA7}"/>
                </a:ext>
              </a:extLst>
            </p:cNvPr>
            <p:cNvPicPr>
              <a:picLocks noChangeAspect="1"/>
            </p:cNvPicPr>
            <p:nvPr/>
          </p:nvPicPr>
          <p:blipFill>
            <a:blip r:embed="rId12"/>
            <a:stretch>
              <a:fillRect/>
            </a:stretch>
          </p:blipFill>
          <p:spPr bwMode="gray">
            <a:xfrm rot="281906">
              <a:off x="26755" y="77841"/>
              <a:ext cx="28845" cy="365340"/>
            </a:xfrm>
            <a:prstGeom prst="rect">
              <a:avLst/>
            </a:prstGeom>
            <a:ln w="12700" cap="flat">
              <a:noFill/>
              <a:miter lim="400000"/>
            </a:ln>
            <a:effectLst/>
          </p:spPr>
        </p:pic>
      </p:grpSp>
      <p:grpSp>
        <p:nvGrpSpPr>
          <p:cNvPr id="69" name="Gruppieren 27">
            <a:extLst>
              <a:ext uri="{FF2B5EF4-FFF2-40B4-BE49-F238E27FC236}">
                <a16:creationId xmlns:a16="http://schemas.microsoft.com/office/drawing/2014/main" id="{1B63DAC8-E7FD-4078-8D1A-3AA0966ABCF6}"/>
              </a:ext>
            </a:extLst>
          </p:cNvPr>
          <p:cNvGrpSpPr/>
          <p:nvPr/>
        </p:nvGrpSpPr>
        <p:grpSpPr bwMode="gray">
          <a:xfrm>
            <a:off x="9112343" y="3780057"/>
            <a:ext cx="291100" cy="652459"/>
            <a:chOff x="0" y="-1"/>
            <a:chExt cx="229333" cy="514017"/>
          </a:xfrm>
        </p:grpSpPr>
        <p:pic>
          <p:nvPicPr>
            <p:cNvPr id="70" name="Freihand 28" descr="Freihand 28">
              <a:extLst>
                <a:ext uri="{FF2B5EF4-FFF2-40B4-BE49-F238E27FC236}">
                  <a16:creationId xmlns:a16="http://schemas.microsoft.com/office/drawing/2014/main" id="{49349C1D-DC5A-4FE2-9401-2A250BBFF9F5}"/>
                </a:ext>
              </a:extLst>
            </p:cNvPr>
            <p:cNvPicPr>
              <a:picLocks noChangeAspect="1"/>
            </p:cNvPicPr>
            <p:nvPr/>
          </p:nvPicPr>
          <p:blipFill>
            <a:blip r:embed="rId10"/>
            <a:stretch>
              <a:fillRect/>
            </a:stretch>
          </p:blipFill>
          <p:spPr bwMode="gray">
            <a:xfrm rot="281906">
              <a:off x="9825" y="8169"/>
              <a:ext cx="209682" cy="248519"/>
            </a:xfrm>
            <a:prstGeom prst="rect">
              <a:avLst/>
            </a:prstGeom>
            <a:ln w="12700" cap="flat">
              <a:noFill/>
              <a:miter lim="400000"/>
            </a:ln>
            <a:effectLst/>
          </p:spPr>
        </p:pic>
        <p:pic>
          <p:nvPicPr>
            <p:cNvPr id="71" name="Freihand 29" descr="Freihand 29">
              <a:extLst>
                <a:ext uri="{FF2B5EF4-FFF2-40B4-BE49-F238E27FC236}">
                  <a16:creationId xmlns:a16="http://schemas.microsoft.com/office/drawing/2014/main" id="{8FF2F1C7-BFF7-4F0D-A850-8A8F1C517FFD}"/>
                </a:ext>
              </a:extLst>
            </p:cNvPr>
            <p:cNvPicPr>
              <a:picLocks noChangeAspect="1"/>
            </p:cNvPicPr>
            <p:nvPr/>
          </p:nvPicPr>
          <p:blipFill>
            <a:blip r:embed="rId11"/>
            <a:stretch>
              <a:fillRect/>
            </a:stretch>
          </p:blipFill>
          <p:spPr bwMode="gray">
            <a:xfrm rot="281906">
              <a:off x="26679" y="225821"/>
              <a:ext cx="161341" cy="282062"/>
            </a:xfrm>
            <a:prstGeom prst="rect">
              <a:avLst/>
            </a:prstGeom>
            <a:ln w="12700" cap="flat">
              <a:noFill/>
              <a:miter lim="400000"/>
            </a:ln>
            <a:effectLst/>
          </p:spPr>
        </p:pic>
        <p:pic>
          <p:nvPicPr>
            <p:cNvPr id="72" name="Freihand 30" descr="Freihand 30">
              <a:extLst>
                <a:ext uri="{FF2B5EF4-FFF2-40B4-BE49-F238E27FC236}">
                  <a16:creationId xmlns:a16="http://schemas.microsoft.com/office/drawing/2014/main" id="{E21A0B5D-148B-43C6-8595-49ECB1FAE80C}"/>
                </a:ext>
              </a:extLst>
            </p:cNvPr>
            <p:cNvPicPr>
              <a:picLocks noChangeAspect="1"/>
            </p:cNvPicPr>
            <p:nvPr/>
          </p:nvPicPr>
          <p:blipFill>
            <a:blip r:embed="rId12"/>
            <a:stretch>
              <a:fillRect/>
            </a:stretch>
          </p:blipFill>
          <p:spPr bwMode="gray">
            <a:xfrm rot="281906">
              <a:off x="26755" y="77841"/>
              <a:ext cx="28845" cy="365340"/>
            </a:xfrm>
            <a:prstGeom prst="rect">
              <a:avLst/>
            </a:prstGeom>
            <a:ln w="12700" cap="flat">
              <a:noFill/>
              <a:miter lim="400000"/>
            </a:ln>
            <a:effectLst/>
          </p:spPr>
        </p:pic>
      </p:grpSp>
      <p:pic>
        <p:nvPicPr>
          <p:cNvPr id="73" name="Picture 2">
            <a:extLst>
              <a:ext uri="{FF2B5EF4-FFF2-40B4-BE49-F238E27FC236}">
                <a16:creationId xmlns:a16="http://schemas.microsoft.com/office/drawing/2014/main" id="{0B673487-E131-4A20-9AB1-6FCF0C2CDC40}"/>
              </a:ext>
            </a:extLst>
          </p:cNvPr>
          <p:cNvPicPr>
            <a:picLocks noChangeAspect="1"/>
          </p:cNvPicPr>
          <p:nvPr/>
        </p:nvPicPr>
        <p:blipFill rotWithShape="1">
          <a:blip r:embed="rId13"/>
          <a:srcRect l="7512" t="3655" r="8601" b="3963"/>
          <a:stretch/>
        </p:blipFill>
        <p:spPr>
          <a:xfrm>
            <a:off x="4051887" y="1913151"/>
            <a:ext cx="1892840" cy="4169084"/>
          </a:xfrm>
          <a:prstGeom prst="roundRect">
            <a:avLst>
              <a:gd name="adj" fmla="val 11667"/>
            </a:avLst>
          </a:prstGeom>
          <a:effectLst>
            <a:outerShdw blurRad="50800" dist="38100" dir="2700000" algn="tl" rotWithShape="0">
              <a:prstClr val="black">
                <a:alpha val="40000"/>
              </a:prstClr>
            </a:outerShdw>
          </a:effectLst>
        </p:spPr>
      </p:pic>
      <p:pic>
        <p:nvPicPr>
          <p:cNvPr id="74" name="Picture 16">
            <a:extLst>
              <a:ext uri="{FF2B5EF4-FFF2-40B4-BE49-F238E27FC236}">
                <a16:creationId xmlns:a16="http://schemas.microsoft.com/office/drawing/2014/main" id="{A4EBF698-42BF-435E-BAA1-43E8660A2742}"/>
              </a:ext>
            </a:extLst>
          </p:cNvPr>
          <p:cNvPicPr>
            <a:picLocks noChangeAspect="1"/>
          </p:cNvPicPr>
          <p:nvPr/>
        </p:nvPicPr>
        <p:blipFill rotWithShape="1">
          <a:blip r:embed="rId14"/>
          <a:srcRect l="11613" t="4935" r="11423" b="6534"/>
          <a:stretch/>
        </p:blipFill>
        <p:spPr>
          <a:xfrm>
            <a:off x="1201632" y="1873176"/>
            <a:ext cx="1925333" cy="4169081"/>
          </a:xfrm>
          <a:prstGeom prst="roundRect">
            <a:avLst>
              <a:gd name="adj" fmla="val 11667"/>
            </a:avLst>
          </a:prstGeom>
          <a:effectLst>
            <a:outerShdw blurRad="50800" dist="38100" dir="2700000" algn="tl" rotWithShape="0">
              <a:prstClr val="black">
                <a:alpha val="40000"/>
              </a:prstClr>
            </a:outerShdw>
          </a:effectLst>
        </p:spPr>
      </p:pic>
      <p:grpSp>
        <p:nvGrpSpPr>
          <p:cNvPr id="75" name="Group 74">
            <a:extLst>
              <a:ext uri="{FF2B5EF4-FFF2-40B4-BE49-F238E27FC236}">
                <a16:creationId xmlns:a16="http://schemas.microsoft.com/office/drawing/2014/main" id="{D9E0D35A-1647-478C-BC0A-FF7B39EF5B0A}"/>
              </a:ext>
            </a:extLst>
          </p:cNvPr>
          <p:cNvGrpSpPr/>
          <p:nvPr/>
        </p:nvGrpSpPr>
        <p:grpSpPr>
          <a:xfrm>
            <a:off x="6812360" y="1913151"/>
            <a:ext cx="1991549" cy="4169084"/>
            <a:chOff x="4728102" y="1243549"/>
            <a:chExt cx="1493662" cy="3260416"/>
          </a:xfrm>
        </p:grpSpPr>
        <p:pic>
          <p:nvPicPr>
            <p:cNvPr id="76" name="Picture 9">
              <a:extLst>
                <a:ext uri="{FF2B5EF4-FFF2-40B4-BE49-F238E27FC236}">
                  <a16:creationId xmlns:a16="http://schemas.microsoft.com/office/drawing/2014/main" id="{A59AD814-89AD-4069-AFB9-A6BE928272B5}"/>
                </a:ext>
              </a:extLst>
            </p:cNvPr>
            <p:cNvPicPr>
              <a:picLocks noChangeAspect="1"/>
            </p:cNvPicPr>
            <p:nvPr/>
          </p:nvPicPr>
          <p:blipFill rotWithShape="1">
            <a:blip r:embed="rId15"/>
            <a:srcRect l="8018" t="5107" r="8383" b="3946"/>
            <a:stretch/>
          </p:blipFill>
          <p:spPr>
            <a:xfrm>
              <a:off x="4728102" y="1243549"/>
              <a:ext cx="1493662" cy="3260416"/>
            </a:xfrm>
            <a:prstGeom prst="roundRect">
              <a:avLst>
                <a:gd name="adj" fmla="val 11667"/>
              </a:avLst>
            </a:prstGeom>
            <a:effectLst>
              <a:outerShdw blurRad="50800" dist="38100" dir="2700000" algn="tl" rotWithShape="0">
                <a:prstClr val="black">
                  <a:alpha val="40000"/>
                </a:prstClr>
              </a:outerShdw>
            </a:effectLst>
          </p:spPr>
        </p:pic>
        <p:pic>
          <p:nvPicPr>
            <p:cNvPr id="77" name="Picture 76">
              <a:extLst>
                <a:ext uri="{FF2B5EF4-FFF2-40B4-BE49-F238E27FC236}">
                  <a16:creationId xmlns:a16="http://schemas.microsoft.com/office/drawing/2014/main" id="{CB271F6B-8883-40CF-8129-71C09A4BE0B7}"/>
                </a:ext>
              </a:extLst>
            </p:cNvPr>
            <p:cNvPicPr>
              <a:picLocks noChangeAspect="1"/>
            </p:cNvPicPr>
            <p:nvPr/>
          </p:nvPicPr>
          <p:blipFill rotWithShape="1">
            <a:blip r:embed="rId16"/>
            <a:srcRect b="17358"/>
            <a:stretch/>
          </p:blipFill>
          <p:spPr>
            <a:xfrm>
              <a:off x="4729714" y="1392238"/>
              <a:ext cx="1490472" cy="2814087"/>
            </a:xfrm>
            <a:prstGeom prst="rect">
              <a:avLst/>
            </a:prstGeom>
          </p:spPr>
        </p:pic>
      </p:grpSp>
      <p:pic>
        <p:nvPicPr>
          <p:cNvPr id="78" name="Picture 77">
            <a:extLst>
              <a:ext uri="{FF2B5EF4-FFF2-40B4-BE49-F238E27FC236}">
                <a16:creationId xmlns:a16="http://schemas.microsoft.com/office/drawing/2014/main" id="{E7893915-D96F-41B2-9507-3DCD2DB2B3AB}"/>
              </a:ext>
            </a:extLst>
          </p:cNvPr>
          <p:cNvPicPr>
            <a:picLocks noChangeAspect="1"/>
          </p:cNvPicPr>
          <p:nvPr/>
        </p:nvPicPr>
        <p:blipFill>
          <a:blip r:embed="rId17"/>
          <a:stretch>
            <a:fillRect/>
          </a:stretch>
        </p:blipFill>
        <p:spPr>
          <a:xfrm>
            <a:off x="9609109" y="1873174"/>
            <a:ext cx="2107980" cy="4169081"/>
          </a:xfrm>
          <a:prstGeom prst="roundRect">
            <a:avLst>
              <a:gd name="adj" fmla="val 11667"/>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1121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5EFEA41-7BE0-4C05-A19A-E4478F49E74D}"/>
              </a:ext>
            </a:extLst>
          </p:cNvPr>
          <p:cNvSpPr/>
          <p:nvPr/>
        </p:nvSpPr>
        <p:spPr bwMode="gray">
          <a:xfrm>
            <a:off x="-9455" y="1020017"/>
            <a:ext cx="12192000" cy="3450004"/>
          </a:xfrm>
          <a:prstGeom prst="rect">
            <a:avLst/>
          </a:prstGeom>
          <a:solidFill>
            <a:srgbClr val="000000">
              <a:alpha val="41176"/>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spAutoFit/>
          </a:bodyPr>
          <a:lstStyle/>
          <a:p>
            <a:pPr defTabSz="1219170" hangingPunct="0"/>
            <a:endParaRPr lang="fr-FR" sz="2400" kern="0">
              <a:solidFill>
                <a:srgbClr val="000000"/>
              </a:solidFill>
              <a:latin typeface="Segoe UI"/>
              <a:ea typeface="Segoe UI"/>
              <a:cs typeface="Segoe UI"/>
              <a:sym typeface="Segoe UI"/>
            </a:endParaRPr>
          </a:p>
          <a:p>
            <a:pPr defTabSz="1219170" hangingPunct="0"/>
            <a:endParaRPr lang="fr-FR" sz="2400" kern="0">
              <a:solidFill>
                <a:srgbClr val="000000"/>
              </a:solidFill>
              <a:latin typeface="Segoe UI"/>
              <a:cs typeface="Segoe UI"/>
              <a:sym typeface="Segoe UI"/>
            </a:endParaRPr>
          </a:p>
          <a:p>
            <a:pPr defTabSz="1219170" hangingPunct="0"/>
            <a:endParaRPr lang="fr-FR" sz="2400" kern="0">
              <a:solidFill>
                <a:srgbClr val="000000"/>
              </a:solidFill>
              <a:latin typeface="Segoe UI"/>
              <a:ea typeface="Segoe UI"/>
              <a:cs typeface="Segoe UI"/>
              <a:sym typeface="Segoe UI"/>
            </a:endParaRPr>
          </a:p>
          <a:p>
            <a:pPr defTabSz="1219170" hangingPunct="0"/>
            <a:endParaRPr lang="fr-FR" sz="2400" kern="0">
              <a:solidFill>
                <a:srgbClr val="000000"/>
              </a:solidFill>
              <a:latin typeface="Segoe UI"/>
              <a:cs typeface="Segoe UI"/>
              <a:sym typeface="Segoe UI"/>
            </a:endParaRPr>
          </a:p>
          <a:p>
            <a:pPr defTabSz="1219170" hangingPunct="0"/>
            <a:endParaRPr lang="fr-FR" sz="2400" kern="0">
              <a:solidFill>
                <a:srgbClr val="000000"/>
              </a:solidFill>
              <a:latin typeface="Segoe UI"/>
              <a:ea typeface="Segoe UI"/>
              <a:cs typeface="Segoe UI"/>
              <a:sym typeface="Segoe UI"/>
            </a:endParaRPr>
          </a:p>
          <a:p>
            <a:pPr defTabSz="1219170" hangingPunct="0"/>
            <a:endParaRPr lang="fr-FR" sz="2400" kern="0">
              <a:solidFill>
                <a:srgbClr val="000000"/>
              </a:solidFill>
              <a:latin typeface="Segoe UI"/>
              <a:cs typeface="Segoe UI"/>
              <a:sym typeface="Segoe UI"/>
            </a:endParaRPr>
          </a:p>
          <a:p>
            <a:pPr defTabSz="1219170" hangingPunct="0"/>
            <a:endParaRPr lang="fr-FR" sz="2400" kern="0">
              <a:solidFill>
                <a:srgbClr val="000000"/>
              </a:solidFill>
              <a:latin typeface="Segoe UI"/>
              <a:ea typeface="Segoe UI"/>
              <a:cs typeface="Segoe UI"/>
              <a:sym typeface="Segoe UI"/>
            </a:endParaRPr>
          </a:p>
          <a:p>
            <a:pPr defTabSz="1219170" hangingPunct="0"/>
            <a:endParaRPr lang="fr-FR" sz="2400" kern="0">
              <a:solidFill>
                <a:srgbClr val="000000"/>
              </a:solidFill>
              <a:latin typeface="Segoe UI"/>
              <a:cs typeface="Segoe UI"/>
              <a:sym typeface="Segoe UI"/>
            </a:endParaRPr>
          </a:p>
          <a:p>
            <a:pPr defTabSz="1219170" hangingPunct="0"/>
            <a:endParaRPr lang="fr-FR" sz="2400" kern="0">
              <a:solidFill>
                <a:srgbClr val="000000"/>
              </a:solidFill>
              <a:latin typeface="Segoe UI"/>
              <a:ea typeface="Segoe UI"/>
              <a:cs typeface="Segoe UI"/>
              <a:sym typeface="Segoe UI"/>
            </a:endParaRPr>
          </a:p>
        </p:txBody>
      </p:sp>
      <p:sp>
        <p:nvSpPr>
          <p:cNvPr id="2" name="ZoneTexte 1">
            <a:extLst>
              <a:ext uri="{FF2B5EF4-FFF2-40B4-BE49-F238E27FC236}">
                <a16:creationId xmlns:a16="http://schemas.microsoft.com/office/drawing/2014/main" id="{E40B3BD1-A1BA-493F-BCF7-73739D47E462}"/>
              </a:ext>
            </a:extLst>
          </p:cNvPr>
          <p:cNvSpPr txBox="1"/>
          <p:nvPr/>
        </p:nvSpPr>
        <p:spPr bwMode="gray">
          <a:xfrm>
            <a:off x="3507785" y="4123698"/>
            <a:ext cx="123173" cy="492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60959" tIns="60959" rIns="60959" bIns="60959" numCol="1" spcCol="38100" rtlCol="0" anchor="t">
            <a:spAutoFit/>
          </a:bodyPr>
          <a:lstStyle/>
          <a:p>
            <a:pPr defTabSz="1219170" hangingPunct="0">
              <a:defRPr/>
            </a:pPr>
            <a:endParaRPr lang="en-US" sz="2400" kern="0">
              <a:solidFill>
                <a:srgbClr val="FFFFFF"/>
              </a:solidFill>
              <a:latin typeface="Segoe UI"/>
              <a:ea typeface="Segoe UI"/>
              <a:cs typeface="Segoe UI"/>
              <a:sym typeface="Segoe UI"/>
            </a:endParaRPr>
          </a:p>
        </p:txBody>
      </p:sp>
      <p:sp>
        <p:nvSpPr>
          <p:cNvPr id="18" name="ZoneTexte 17">
            <a:extLst>
              <a:ext uri="{FF2B5EF4-FFF2-40B4-BE49-F238E27FC236}">
                <a16:creationId xmlns:a16="http://schemas.microsoft.com/office/drawing/2014/main" id="{A249BE86-0809-4838-8A47-20DD8C04406F}"/>
              </a:ext>
            </a:extLst>
          </p:cNvPr>
          <p:cNvSpPr txBox="1"/>
          <p:nvPr/>
        </p:nvSpPr>
        <p:spPr bwMode="gray">
          <a:xfrm>
            <a:off x="814135" y="5134113"/>
            <a:ext cx="9997301" cy="8617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2880" tIns="60959" rIns="60959" bIns="60959" numCol="1" spcCol="38100" rtlCol="0" anchor="t">
            <a:spAutoFit/>
          </a:bodyPr>
          <a:lstStyle/>
          <a:p>
            <a:pPr defTabSz="1219170" hangingPunct="0"/>
            <a:r>
              <a:rPr lang="es-ES" sz="2400" b="1" kern="0">
                <a:solidFill>
                  <a:srgbClr val="FFFFFF"/>
                </a:solidFill>
                <a:latin typeface="Segoe UI"/>
                <a:cs typeface="Segoe UI"/>
                <a:sym typeface="Segoe UI"/>
              </a:rPr>
              <a:t>Descubre cómo LOCTITE® Pulse</a:t>
            </a:r>
            <a:r>
              <a:rPr lang="es-ES" sz="2400" kern="0">
                <a:solidFill>
                  <a:srgbClr val="FFFFFF"/>
                </a:solidFill>
                <a:latin typeface="Segoe UI"/>
                <a:cs typeface="Segoe UI"/>
                <a:sym typeface="Segoe UI"/>
              </a:rPr>
              <a:t> puede ayudarte a </a:t>
            </a:r>
            <a:r>
              <a:rPr lang="es-ES" sz="2400" b="1" kern="0">
                <a:solidFill>
                  <a:srgbClr val="FFFFFF"/>
                </a:solidFill>
                <a:latin typeface="Segoe UI"/>
                <a:cs typeface="Segoe UI"/>
                <a:sym typeface="Segoe UI"/>
              </a:rPr>
              <a:t>ahorrar tiempo y dinero</a:t>
            </a:r>
            <a:r>
              <a:rPr lang="es-ES" sz="2400" kern="0">
                <a:solidFill>
                  <a:srgbClr val="FFFFFF"/>
                </a:solidFill>
                <a:latin typeface="Segoe UI"/>
                <a:cs typeface="Segoe UI"/>
                <a:sym typeface="Segoe UI"/>
              </a:rPr>
              <a:t> mientras </a:t>
            </a:r>
            <a:r>
              <a:rPr lang="es-ES" sz="2400" b="1" kern="0">
                <a:solidFill>
                  <a:srgbClr val="FFFFFF"/>
                </a:solidFill>
                <a:latin typeface="Segoe UI"/>
                <a:cs typeface="Segoe UI"/>
                <a:sym typeface="Segoe UI"/>
              </a:rPr>
              <a:t>aumentas</a:t>
            </a:r>
            <a:r>
              <a:rPr lang="es-ES" sz="2400" kern="0">
                <a:solidFill>
                  <a:srgbClr val="FFFFFF"/>
                </a:solidFill>
                <a:latin typeface="Segoe UI"/>
                <a:cs typeface="Segoe UI"/>
                <a:sym typeface="Segoe UI"/>
              </a:rPr>
              <a:t> la </a:t>
            </a:r>
            <a:r>
              <a:rPr lang="es-ES" sz="2400" b="1" kern="0">
                <a:solidFill>
                  <a:srgbClr val="FFFFFF"/>
                </a:solidFill>
                <a:latin typeface="Segoe UI"/>
                <a:cs typeface="Segoe UI"/>
                <a:sym typeface="Segoe UI"/>
              </a:rPr>
              <a:t>fiabilidad</a:t>
            </a:r>
            <a:r>
              <a:rPr lang="es-ES" sz="2400" kern="0">
                <a:solidFill>
                  <a:srgbClr val="FFFFFF"/>
                </a:solidFill>
                <a:latin typeface="Segoe UI"/>
                <a:cs typeface="Segoe UI"/>
                <a:sym typeface="Segoe UI"/>
              </a:rPr>
              <a:t> y la </a:t>
            </a:r>
            <a:r>
              <a:rPr lang="es-ES" sz="2400" b="1" kern="0">
                <a:solidFill>
                  <a:srgbClr val="FFFFFF"/>
                </a:solidFill>
                <a:latin typeface="Segoe UI"/>
                <a:cs typeface="Segoe UI"/>
                <a:sym typeface="Segoe UI"/>
              </a:rPr>
              <a:t>seguridad </a:t>
            </a:r>
            <a:r>
              <a:rPr lang="es-ES" sz="2400" kern="0">
                <a:solidFill>
                  <a:srgbClr val="FFFFFF"/>
                </a:solidFill>
                <a:latin typeface="Segoe UI"/>
                <a:cs typeface="Segoe UI"/>
                <a:sym typeface="Segoe UI"/>
              </a:rPr>
              <a:t>¡Empecemos!</a:t>
            </a:r>
          </a:p>
        </p:txBody>
      </p:sp>
      <p:sp>
        <p:nvSpPr>
          <p:cNvPr id="6" name="TextBox 5">
            <a:extLst>
              <a:ext uri="{FF2B5EF4-FFF2-40B4-BE49-F238E27FC236}">
                <a16:creationId xmlns:a16="http://schemas.microsoft.com/office/drawing/2014/main" id="{6F795FB5-90AF-4FCE-A597-6EA93430E094}"/>
              </a:ext>
            </a:extLst>
          </p:cNvPr>
          <p:cNvSpPr txBox="1"/>
          <p:nvPr/>
        </p:nvSpPr>
        <p:spPr bwMode="gray">
          <a:xfrm>
            <a:off x="814133" y="6227855"/>
            <a:ext cx="9489016" cy="5538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fromWordArt="0" anchor="t" anchorCtr="0" forceAA="0" compatLnSpc="1">
            <a:prstTxWarp prst="textNoShape">
              <a:avLst/>
            </a:prstTxWarp>
            <a:spAutoFit/>
          </a:bodyPr>
          <a:lstStyle/>
          <a:p>
            <a:pPr defTabSz="1219170" hangingPunct="0"/>
            <a:endParaRPr lang="fr-FR" sz="933" i="1" kern="0">
              <a:solidFill>
                <a:srgbClr val="FFFFFF"/>
              </a:solidFill>
              <a:latin typeface="Segoe UI Light"/>
              <a:cs typeface="Segoe UI Light"/>
              <a:sym typeface="Segoe UI"/>
            </a:endParaRPr>
          </a:p>
          <a:p>
            <a:pPr defTabSz="1219170" hangingPunct="0"/>
            <a:endParaRPr lang="fr-FR" sz="933" i="1" kern="0">
              <a:solidFill>
                <a:srgbClr val="FFFFFF"/>
              </a:solidFill>
              <a:latin typeface="Segoe UI Light"/>
              <a:cs typeface="Segoe UI Light"/>
              <a:sym typeface="Segoe UI"/>
            </a:endParaRPr>
          </a:p>
          <a:p>
            <a:pPr defTabSz="1219170" hangingPunct="0"/>
            <a:r>
              <a:rPr lang="es-ES" sz="933" i="1" kern="0">
                <a:solidFill>
                  <a:srgbClr val="FFFFFF"/>
                </a:solidFill>
                <a:latin typeface="Segoe UI Light"/>
                <a:cs typeface="Segoe UI Light"/>
                <a:sym typeface="Segoe UI"/>
              </a:rPr>
              <a:t>​</a:t>
            </a:r>
          </a:p>
        </p:txBody>
      </p:sp>
      <p:sp>
        <p:nvSpPr>
          <p:cNvPr id="14" name="ZoneTexte 13">
            <a:extLst>
              <a:ext uri="{FF2B5EF4-FFF2-40B4-BE49-F238E27FC236}">
                <a16:creationId xmlns:a16="http://schemas.microsoft.com/office/drawing/2014/main" id="{5599B165-FF41-4505-9562-9CAA8CAA3950}"/>
              </a:ext>
            </a:extLst>
          </p:cNvPr>
          <p:cNvSpPr txBox="1"/>
          <p:nvPr/>
        </p:nvSpPr>
        <p:spPr bwMode="gray">
          <a:xfrm>
            <a:off x="998079" y="2895234"/>
            <a:ext cx="2371068" cy="13131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gn="ctr" defTabSz="1219170" hangingPunct="0">
              <a:spcAft>
                <a:spcPts val="1067"/>
              </a:spcAft>
            </a:pPr>
            <a:r>
              <a:rPr lang="es-ES" sz="1600" b="1" kern="0">
                <a:solidFill>
                  <a:srgbClr val="FFFFFF"/>
                </a:solidFill>
                <a:latin typeface="Segoe UI"/>
                <a:cs typeface="Segoe UI"/>
                <a:sym typeface="Segoe UI"/>
              </a:rPr>
              <a:t>Controla tu equipo con solo unos clics</a:t>
            </a:r>
          </a:p>
          <a:p>
            <a:pPr algn="ctr" defTabSz="1219170" hangingPunct="0">
              <a:spcAft>
                <a:spcPts val="1067"/>
              </a:spcAft>
            </a:pPr>
            <a:r>
              <a:rPr lang="es-ES" sz="1333" kern="0">
                <a:solidFill>
                  <a:srgbClr val="FFFFFF"/>
                </a:solidFill>
                <a:latin typeface="Segoe UI Light" panose="020B0502040204020203" pitchFamily="34" charset="0"/>
                <a:cs typeface="Segoe UI Light" panose="020B0502040204020203" pitchFamily="34" charset="0"/>
                <a:sym typeface="Segoe UI"/>
              </a:rPr>
              <a:t>Consigue transparencia inmediata al controlar tus equipos más importantes con una aplicación muy fácil de utilizar.</a:t>
            </a:r>
          </a:p>
        </p:txBody>
      </p:sp>
      <p:sp>
        <p:nvSpPr>
          <p:cNvPr id="4" name="Title 3">
            <a:extLst>
              <a:ext uri="{FF2B5EF4-FFF2-40B4-BE49-F238E27FC236}">
                <a16:creationId xmlns:a16="http://schemas.microsoft.com/office/drawing/2014/main" id="{E85A1912-8D6C-4464-B29D-28A9D1C4B0DE}"/>
              </a:ext>
            </a:extLst>
          </p:cNvPr>
          <p:cNvSpPr>
            <a:spLocks noGrp="1"/>
          </p:cNvSpPr>
          <p:nvPr>
            <p:ph type="title"/>
          </p:nvPr>
        </p:nvSpPr>
        <p:spPr bwMode="gray">
          <a:xfrm>
            <a:off x="590549" y="374114"/>
            <a:ext cx="6753004" cy="379508"/>
          </a:xfrm>
        </p:spPr>
        <p:txBody>
          <a:bodyPr/>
          <a:lstStyle/>
          <a:p>
            <a:r>
              <a:rPr lang="es-ES" sz="3200"/>
              <a:t>¿POR QUÉ EMPEZAR AHORA?</a:t>
            </a:r>
          </a:p>
        </p:txBody>
      </p:sp>
      <p:grpSp>
        <p:nvGrpSpPr>
          <p:cNvPr id="24" name="Group 23">
            <a:extLst>
              <a:ext uri="{FF2B5EF4-FFF2-40B4-BE49-F238E27FC236}">
                <a16:creationId xmlns:a16="http://schemas.microsoft.com/office/drawing/2014/main" id="{3AFF8233-4A9A-4C7B-ABF7-C32311EFE41E}"/>
              </a:ext>
            </a:extLst>
          </p:cNvPr>
          <p:cNvGrpSpPr/>
          <p:nvPr/>
        </p:nvGrpSpPr>
        <p:grpSpPr bwMode="gray">
          <a:xfrm>
            <a:off x="590550" y="5311026"/>
            <a:ext cx="250391" cy="500628"/>
            <a:chOff x="-3157" y="2285295"/>
            <a:chExt cx="1110850" cy="2221018"/>
          </a:xfrm>
        </p:grpSpPr>
        <p:sp>
          <p:nvSpPr>
            <p:cNvPr id="29" name="Gleichschenkliges Dreieck 8">
              <a:extLst>
                <a:ext uri="{FF2B5EF4-FFF2-40B4-BE49-F238E27FC236}">
                  <a16:creationId xmlns:a16="http://schemas.microsoft.com/office/drawing/2014/main" id="{0DD685D1-7F39-45D1-957D-82F499BC6E9D}"/>
                </a:ext>
              </a:extLst>
            </p:cNvPr>
            <p:cNvSpPr>
              <a:spLocks noChangeAspect="1"/>
            </p:cNvSpPr>
            <p:nvPr/>
          </p:nvSpPr>
          <p:spPr bwMode="gray">
            <a:xfrm rot="5400000">
              <a:off x="-4822" y="2286960"/>
              <a:ext cx="1112632" cy="1109302"/>
            </a:xfrm>
            <a:custGeom>
              <a:avLst/>
              <a:gdLst>
                <a:gd name="connsiteX0" fmla="*/ 0 w 6284026"/>
                <a:gd name="connsiteY0" fmla="*/ 2895600 h 2895600"/>
                <a:gd name="connsiteX1" fmla="*/ 3052026 w 6284026"/>
                <a:gd name="connsiteY1" fmla="*/ 0 h 2895600"/>
                <a:gd name="connsiteX2" fmla="*/ 6284026 w 6284026"/>
                <a:gd name="connsiteY2" fmla="*/ 2895600 h 2895600"/>
                <a:gd name="connsiteX3" fmla="*/ 0 w 6284026"/>
                <a:gd name="connsiteY3" fmla="*/ 2895600 h 2895600"/>
                <a:gd name="connsiteX0" fmla="*/ 0 w 3064576"/>
                <a:gd name="connsiteY0" fmla="*/ 2895600 h 2895600"/>
                <a:gd name="connsiteX1" fmla="*/ 3052026 w 3064576"/>
                <a:gd name="connsiteY1" fmla="*/ 0 h 2895600"/>
                <a:gd name="connsiteX2" fmla="*/ 3064576 w 3064576"/>
                <a:gd name="connsiteY2" fmla="*/ 2895600 h 2895600"/>
                <a:gd name="connsiteX3" fmla="*/ 0 w 3064576"/>
                <a:gd name="connsiteY3" fmla="*/ 2895600 h 2895600"/>
                <a:gd name="connsiteX0" fmla="*/ 0 w 3064576"/>
                <a:gd name="connsiteY0" fmla="*/ 2899640 h 2899640"/>
                <a:gd name="connsiteX1" fmla="*/ 3056127 w 3064576"/>
                <a:gd name="connsiteY1" fmla="*/ 0 h 2899640"/>
                <a:gd name="connsiteX2" fmla="*/ 3064576 w 3064576"/>
                <a:gd name="connsiteY2" fmla="*/ 2899640 h 2899640"/>
                <a:gd name="connsiteX3" fmla="*/ 0 w 3064576"/>
                <a:gd name="connsiteY3" fmla="*/ 2899640 h 2899640"/>
                <a:gd name="connsiteX0" fmla="*/ 0 w 3065564"/>
                <a:gd name="connsiteY0" fmla="*/ 2891556 h 2891556"/>
                <a:gd name="connsiteX1" fmla="*/ 3064327 w 3065564"/>
                <a:gd name="connsiteY1" fmla="*/ 1 h 2891556"/>
                <a:gd name="connsiteX2" fmla="*/ 3064576 w 3065564"/>
                <a:gd name="connsiteY2" fmla="*/ 2891556 h 2891556"/>
                <a:gd name="connsiteX3" fmla="*/ 0 w 3065564"/>
                <a:gd name="connsiteY3" fmla="*/ 2891556 h 2891556"/>
              </a:gdLst>
              <a:ahLst/>
              <a:cxnLst>
                <a:cxn ang="0">
                  <a:pos x="connsiteX0" y="connsiteY0"/>
                </a:cxn>
                <a:cxn ang="0">
                  <a:pos x="connsiteX1" y="connsiteY1"/>
                </a:cxn>
                <a:cxn ang="0">
                  <a:pos x="connsiteX2" y="connsiteY2"/>
                </a:cxn>
                <a:cxn ang="0">
                  <a:pos x="connsiteX3" y="connsiteY3"/>
                </a:cxn>
              </a:cxnLst>
              <a:rect l="l" t="t" r="r" b="b"/>
              <a:pathLst>
                <a:path w="3065564" h="2891556">
                  <a:moveTo>
                    <a:pt x="0" y="2891556"/>
                  </a:moveTo>
                  <a:lnTo>
                    <a:pt x="3064327" y="1"/>
                  </a:lnTo>
                  <a:cubicBezTo>
                    <a:pt x="3068510" y="965201"/>
                    <a:pt x="3060393" y="1926356"/>
                    <a:pt x="3064576" y="2891556"/>
                  </a:cubicBezTo>
                  <a:lnTo>
                    <a:pt x="0" y="2891556"/>
                  </a:lnTo>
                  <a:close/>
                </a:path>
              </a:pathLst>
            </a:custGeom>
            <a:solidFill>
              <a:srgbClr val="C30003">
                <a:alpha val="69804"/>
              </a:srgbClr>
            </a:solidFill>
            <a:ln w="9525">
              <a:noFill/>
              <a:round/>
              <a:headEnd/>
              <a:tailEnd/>
            </a:ln>
          </p:spPr>
          <p:txBody>
            <a:bodyPr vert="horz" wrap="square" lIns="121920" tIns="60960" rIns="121920" bIns="60960" numCol="1" anchor="t" anchorCtr="0" compatLnSpc="1">
              <a:prstTxWarp prst="textNoShape">
                <a:avLst/>
              </a:prstTxWarp>
            </a:bodyPr>
            <a:lstStyle/>
            <a:p>
              <a:pPr defTabSz="1219170" hangingPunct="0"/>
              <a:endParaRPr lang="de-DE" sz="2400" kern="0">
                <a:solidFill>
                  <a:srgbClr val="000000"/>
                </a:solidFill>
                <a:latin typeface="Calibri" charset="0"/>
                <a:cs typeface="Calibri" charset="0"/>
                <a:sym typeface="Segoe UI"/>
              </a:endParaRPr>
            </a:p>
          </p:txBody>
        </p:sp>
        <p:sp>
          <p:nvSpPr>
            <p:cNvPr id="30" name="Gleichschenkliges Dreieck 8">
              <a:extLst>
                <a:ext uri="{FF2B5EF4-FFF2-40B4-BE49-F238E27FC236}">
                  <a16:creationId xmlns:a16="http://schemas.microsoft.com/office/drawing/2014/main" id="{CDB36CBB-40EF-4AC0-AC4D-7D02E053AF6E}"/>
                </a:ext>
              </a:extLst>
            </p:cNvPr>
            <p:cNvSpPr/>
            <p:nvPr/>
          </p:nvSpPr>
          <p:spPr bwMode="gray">
            <a:xfrm rot="16200000" flipV="1">
              <a:off x="-249" y="3398371"/>
              <a:ext cx="1109602" cy="1106282"/>
            </a:xfrm>
            <a:custGeom>
              <a:avLst/>
              <a:gdLst>
                <a:gd name="connsiteX0" fmla="*/ 0 w 6284026"/>
                <a:gd name="connsiteY0" fmla="*/ 2895600 h 2895600"/>
                <a:gd name="connsiteX1" fmla="*/ 3052026 w 6284026"/>
                <a:gd name="connsiteY1" fmla="*/ 0 h 2895600"/>
                <a:gd name="connsiteX2" fmla="*/ 6284026 w 6284026"/>
                <a:gd name="connsiteY2" fmla="*/ 2895600 h 2895600"/>
                <a:gd name="connsiteX3" fmla="*/ 0 w 6284026"/>
                <a:gd name="connsiteY3" fmla="*/ 2895600 h 2895600"/>
                <a:gd name="connsiteX0" fmla="*/ 0 w 3064576"/>
                <a:gd name="connsiteY0" fmla="*/ 2895600 h 2895600"/>
                <a:gd name="connsiteX1" fmla="*/ 3052026 w 3064576"/>
                <a:gd name="connsiteY1" fmla="*/ 0 h 2895600"/>
                <a:gd name="connsiteX2" fmla="*/ 3064576 w 3064576"/>
                <a:gd name="connsiteY2" fmla="*/ 2895600 h 2895600"/>
                <a:gd name="connsiteX3" fmla="*/ 0 w 3064576"/>
                <a:gd name="connsiteY3" fmla="*/ 2895600 h 2895600"/>
                <a:gd name="connsiteX0" fmla="*/ 0 w 3064576"/>
                <a:gd name="connsiteY0" fmla="*/ 2899640 h 2899640"/>
                <a:gd name="connsiteX1" fmla="*/ 3056127 w 3064576"/>
                <a:gd name="connsiteY1" fmla="*/ 0 h 2899640"/>
                <a:gd name="connsiteX2" fmla="*/ 3064576 w 3064576"/>
                <a:gd name="connsiteY2" fmla="*/ 2899640 h 2899640"/>
                <a:gd name="connsiteX3" fmla="*/ 0 w 3064576"/>
                <a:gd name="connsiteY3" fmla="*/ 2899640 h 2899640"/>
                <a:gd name="connsiteX0" fmla="*/ 0 w 3065564"/>
                <a:gd name="connsiteY0" fmla="*/ 2891556 h 2891556"/>
                <a:gd name="connsiteX1" fmla="*/ 3064327 w 3065564"/>
                <a:gd name="connsiteY1" fmla="*/ 1 h 2891556"/>
                <a:gd name="connsiteX2" fmla="*/ 3064576 w 3065564"/>
                <a:gd name="connsiteY2" fmla="*/ 2891556 h 2891556"/>
                <a:gd name="connsiteX3" fmla="*/ 0 w 3065564"/>
                <a:gd name="connsiteY3" fmla="*/ 2891556 h 2891556"/>
              </a:gdLst>
              <a:ahLst/>
              <a:cxnLst>
                <a:cxn ang="0">
                  <a:pos x="connsiteX0" y="connsiteY0"/>
                </a:cxn>
                <a:cxn ang="0">
                  <a:pos x="connsiteX1" y="connsiteY1"/>
                </a:cxn>
                <a:cxn ang="0">
                  <a:pos x="connsiteX2" y="connsiteY2"/>
                </a:cxn>
                <a:cxn ang="0">
                  <a:pos x="connsiteX3" y="connsiteY3"/>
                </a:cxn>
              </a:cxnLst>
              <a:rect l="l" t="t" r="r" b="b"/>
              <a:pathLst>
                <a:path w="3065564" h="2891556">
                  <a:moveTo>
                    <a:pt x="0" y="2891556"/>
                  </a:moveTo>
                  <a:lnTo>
                    <a:pt x="3064327" y="1"/>
                  </a:lnTo>
                  <a:cubicBezTo>
                    <a:pt x="3068510" y="965201"/>
                    <a:pt x="3060393" y="1926356"/>
                    <a:pt x="3064576" y="2891556"/>
                  </a:cubicBezTo>
                  <a:lnTo>
                    <a:pt x="0" y="2891556"/>
                  </a:lnTo>
                  <a:close/>
                </a:path>
              </a:pathLst>
            </a:custGeom>
            <a:solidFill>
              <a:srgbClr val="C30005"/>
            </a:solidFill>
            <a:ln w="9525">
              <a:noFill/>
              <a:round/>
              <a:headEnd/>
              <a:tailEnd/>
            </a:ln>
          </p:spPr>
          <p:txBody>
            <a:bodyPr vert="horz" wrap="square" lIns="121920" tIns="60960" rIns="121920" bIns="60960" numCol="1" anchor="t" anchorCtr="0" compatLnSpc="1">
              <a:prstTxWarp prst="textNoShape">
                <a:avLst/>
              </a:prstTxWarp>
            </a:bodyPr>
            <a:lstStyle/>
            <a:p>
              <a:pPr defTabSz="1219170" hangingPunct="0"/>
              <a:endParaRPr lang="de-DE" sz="2400" kern="0">
                <a:solidFill>
                  <a:srgbClr val="000000"/>
                </a:solidFill>
                <a:latin typeface="Calibri" charset="0"/>
                <a:cs typeface="Calibri" charset="0"/>
                <a:sym typeface="Segoe UI"/>
              </a:endParaRPr>
            </a:p>
          </p:txBody>
        </p:sp>
      </p:grpSp>
      <p:sp>
        <p:nvSpPr>
          <p:cNvPr id="31" name="ZoneTexte 13">
            <a:extLst>
              <a:ext uri="{FF2B5EF4-FFF2-40B4-BE49-F238E27FC236}">
                <a16:creationId xmlns:a16="http://schemas.microsoft.com/office/drawing/2014/main" id="{5EAA6922-E471-4F1B-B424-D164E389EFAD}"/>
              </a:ext>
            </a:extLst>
          </p:cNvPr>
          <p:cNvSpPr txBox="1"/>
          <p:nvPr/>
        </p:nvSpPr>
        <p:spPr bwMode="gray">
          <a:xfrm>
            <a:off x="3603555" y="2895234"/>
            <a:ext cx="2371068" cy="13131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gn="ctr" defTabSz="1219170" hangingPunct="0">
              <a:spcAft>
                <a:spcPts val="1067"/>
              </a:spcAft>
            </a:pPr>
            <a:r>
              <a:rPr lang="es-ES" sz="1600" b="1" kern="0">
                <a:solidFill>
                  <a:srgbClr val="FFFFFF"/>
                </a:solidFill>
                <a:latin typeface="Segoe UI"/>
                <a:cs typeface="Segoe UI"/>
                <a:sym typeface="Segoe UI"/>
              </a:rPr>
              <a:t>Reduce los costes de mantenimiento</a:t>
            </a:r>
          </a:p>
          <a:p>
            <a:pPr algn="ctr" defTabSz="1219170" hangingPunct="0">
              <a:spcAft>
                <a:spcPts val="1067"/>
              </a:spcAft>
            </a:pPr>
            <a:r>
              <a:rPr lang="es-ES" sz="1333" kern="0">
                <a:solidFill>
                  <a:srgbClr val="FFFFFF"/>
                </a:solidFill>
                <a:latin typeface="Segoe UI Light" panose="020B0502040204020203" pitchFamily="34" charset="0"/>
                <a:cs typeface="Segoe UI Light" panose="020B0502040204020203" pitchFamily="34" charset="0"/>
                <a:sym typeface="Segoe UI"/>
              </a:rPr>
              <a:t>Reduce las labores de inspección manual y las reparaciones gracias al control continuo.</a:t>
            </a:r>
          </a:p>
        </p:txBody>
      </p:sp>
      <p:sp>
        <p:nvSpPr>
          <p:cNvPr id="9" name="Oval 8">
            <a:extLst>
              <a:ext uri="{FF2B5EF4-FFF2-40B4-BE49-F238E27FC236}">
                <a16:creationId xmlns:a16="http://schemas.microsoft.com/office/drawing/2014/main" id="{5BB8920E-328D-4CF4-B4EF-C4E25E06DF5D}"/>
              </a:ext>
            </a:extLst>
          </p:cNvPr>
          <p:cNvSpPr/>
          <p:nvPr/>
        </p:nvSpPr>
        <p:spPr bwMode="gray">
          <a:xfrm>
            <a:off x="1500675" y="1279718"/>
            <a:ext cx="1365876" cy="1365876"/>
          </a:xfrm>
          <a:prstGeom prst="ellipse">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34" name="Oval 33">
            <a:extLst>
              <a:ext uri="{FF2B5EF4-FFF2-40B4-BE49-F238E27FC236}">
                <a16:creationId xmlns:a16="http://schemas.microsoft.com/office/drawing/2014/main" id="{16B07279-E7EB-47D9-BDDC-C27FE4CC8667}"/>
              </a:ext>
            </a:extLst>
          </p:cNvPr>
          <p:cNvSpPr/>
          <p:nvPr/>
        </p:nvSpPr>
        <p:spPr bwMode="gray">
          <a:xfrm>
            <a:off x="4106151" y="1279718"/>
            <a:ext cx="1365876" cy="1365876"/>
          </a:xfrm>
          <a:prstGeom prst="ellipse">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35" name="Oval 34">
            <a:extLst>
              <a:ext uri="{FF2B5EF4-FFF2-40B4-BE49-F238E27FC236}">
                <a16:creationId xmlns:a16="http://schemas.microsoft.com/office/drawing/2014/main" id="{37D9E147-806A-4998-9BAF-87399C4E12CD}"/>
              </a:ext>
            </a:extLst>
          </p:cNvPr>
          <p:cNvSpPr/>
          <p:nvPr/>
        </p:nvSpPr>
        <p:spPr bwMode="gray">
          <a:xfrm>
            <a:off x="6711627" y="1279718"/>
            <a:ext cx="1365876" cy="1365876"/>
          </a:xfrm>
          <a:prstGeom prst="ellipse">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36" name="Oval 35">
            <a:extLst>
              <a:ext uri="{FF2B5EF4-FFF2-40B4-BE49-F238E27FC236}">
                <a16:creationId xmlns:a16="http://schemas.microsoft.com/office/drawing/2014/main" id="{82254A3F-E98D-44CB-BCEA-25E0198643EC}"/>
              </a:ext>
            </a:extLst>
          </p:cNvPr>
          <p:cNvSpPr/>
          <p:nvPr/>
        </p:nvSpPr>
        <p:spPr bwMode="gray">
          <a:xfrm>
            <a:off x="9317102" y="1279718"/>
            <a:ext cx="1365876" cy="1365876"/>
          </a:xfrm>
          <a:prstGeom prst="ellipse">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pSp>
        <p:nvGrpSpPr>
          <p:cNvPr id="13" name="Group 12">
            <a:extLst>
              <a:ext uri="{FF2B5EF4-FFF2-40B4-BE49-F238E27FC236}">
                <a16:creationId xmlns:a16="http://schemas.microsoft.com/office/drawing/2014/main" id="{9A2FF480-B67E-4137-A0F2-5ABFF6E7A339}"/>
              </a:ext>
            </a:extLst>
          </p:cNvPr>
          <p:cNvGrpSpPr/>
          <p:nvPr/>
        </p:nvGrpSpPr>
        <p:grpSpPr bwMode="gray">
          <a:xfrm>
            <a:off x="1705494" y="1675573"/>
            <a:ext cx="956237" cy="574163"/>
            <a:chOff x="5271937" y="2192840"/>
            <a:chExt cx="1504442" cy="903326"/>
          </a:xfrm>
          <a:solidFill>
            <a:schemeClr val="bg1"/>
          </a:solidFill>
        </p:grpSpPr>
        <p:sp>
          <p:nvSpPr>
            <p:cNvPr id="11" name="Freeform: Shape 10">
              <a:extLst>
                <a:ext uri="{FF2B5EF4-FFF2-40B4-BE49-F238E27FC236}">
                  <a16:creationId xmlns:a16="http://schemas.microsoft.com/office/drawing/2014/main" id="{036DDC4E-2C67-48DB-AA87-A7850DD58E06}"/>
                </a:ext>
              </a:extLst>
            </p:cNvPr>
            <p:cNvSpPr/>
            <p:nvPr/>
          </p:nvSpPr>
          <p:spPr bwMode="gray">
            <a:xfrm>
              <a:off x="5271937" y="2192840"/>
              <a:ext cx="1504442" cy="903326"/>
            </a:xfrm>
            <a:custGeom>
              <a:avLst/>
              <a:gdLst>
                <a:gd name="connsiteX0" fmla="*/ 1013706 w 1504442"/>
                <a:gd name="connsiteY0" fmla="*/ 722661 h 903326"/>
                <a:gd name="connsiteX1" fmla="*/ 1028761 w 1504442"/>
                <a:gd name="connsiteY1" fmla="*/ 197603 h 903326"/>
                <a:gd name="connsiteX2" fmla="*/ 1371273 w 1504442"/>
                <a:gd name="connsiteY2" fmla="*/ 472364 h 903326"/>
                <a:gd name="connsiteX3" fmla="*/ 1013706 w 1504442"/>
                <a:gd name="connsiteY3" fmla="*/ 722661 h 903326"/>
                <a:gd name="connsiteX4" fmla="*/ 274107 w 1504442"/>
                <a:gd name="connsiteY4" fmla="*/ 334984 h 903326"/>
                <a:gd name="connsiteX5" fmla="*/ 473592 w 1504442"/>
                <a:gd name="connsiteY5" fmla="*/ 199485 h 903326"/>
                <a:gd name="connsiteX6" fmla="*/ 490529 w 1504442"/>
                <a:gd name="connsiteY6" fmla="*/ 722661 h 903326"/>
                <a:gd name="connsiteX7" fmla="*/ 132963 w 1504442"/>
                <a:gd name="connsiteY7" fmla="*/ 472364 h 903326"/>
                <a:gd name="connsiteX8" fmla="*/ 274107 w 1504442"/>
                <a:gd name="connsiteY8" fmla="*/ 334984 h 903326"/>
                <a:gd name="connsiteX9" fmla="*/ 274107 w 1504442"/>
                <a:gd name="connsiteY9" fmla="*/ 334984 h 903326"/>
                <a:gd name="connsiteX10" fmla="*/ 752118 w 1504442"/>
                <a:gd name="connsiteY10" fmla="*/ 752772 h 903326"/>
                <a:gd name="connsiteX11" fmla="*/ 451009 w 1504442"/>
                <a:gd name="connsiteY11" fmla="*/ 451663 h 903326"/>
                <a:gd name="connsiteX12" fmla="*/ 752118 w 1504442"/>
                <a:gd name="connsiteY12" fmla="*/ 150554 h 903326"/>
                <a:gd name="connsiteX13" fmla="*/ 1053226 w 1504442"/>
                <a:gd name="connsiteY13" fmla="*/ 451663 h 903326"/>
                <a:gd name="connsiteX14" fmla="*/ 752118 w 1504442"/>
                <a:gd name="connsiteY14" fmla="*/ 752772 h 903326"/>
                <a:gd name="connsiteX15" fmla="*/ 1484188 w 1504442"/>
                <a:gd name="connsiteY15" fmla="*/ 419670 h 903326"/>
                <a:gd name="connsiteX16" fmla="*/ 752118 w 1504442"/>
                <a:gd name="connsiteY16" fmla="*/ 0 h 903326"/>
                <a:gd name="connsiteX17" fmla="*/ 20047 w 1504442"/>
                <a:gd name="connsiteY17" fmla="*/ 419670 h 903326"/>
                <a:gd name="connsiteX18" fmla="*/ 23811 w 1504442"/>
                <a:gd name="connsiteY18" fmla="*/ 532586 h 903326"/>
                <a:gd name="connsiteX19" fmla="*/ 752118 w 1504442"/>
                <a:gd name="connsiteY19" fmla="*/ 903327 h 903326"/>
                <a:gd name="connsiteX20" fmla="*/ 1482307 w 1504442"/>
                <a:gd name="connsiteY20" fmla="*/ 532586 h 903326"/>
                <a:gd name="connsiteX21" fmla="*/ 1484188 w 1504442"/>
                <a:gd name="connsiteY21" fmla="*/ 419670 h 9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04442" h="903326">
                  <a:moveTo>
                    <a:pt x="1013706" y="722661"/>
                  </a:moveTo>
                  <a:cubicBezTo>
                    <a:pt x="1160496" y="581516"/>
                    <a:pt x="1168024" y="348157"/>
                    <a:pt x="1028761" y="197603"/>
                  </a:cubicBezTo>
                  <a:cubicBezTo>
                    <a:pt x="1177434" y="274762"/>
                    <a:pt x="1299759" y="393323"/>
                    <a:pt x="1371273" y="472364"/>
                  </a:cubicBezTo>
                  <a:cubicBezTo>
                    <a:pt x="1295995" y="545760"/>
                    <a:pt x="1168024" y="654912"/>
                    <a:pt x="1013706" y="722661"/>
                  </a:cubicBezTo>
                  <a:close/>
                  <a:moveTo>
                    <a:pt x="274107" y="334984"/>
                  </a:moveTo>
                  <a:cubicBezTo>
                    <a:pt x="336211" y="282290"/>
                    <a:pt x="402079" y="237123"/>
                    <a:pt x="473592" y="199485"/>
                  </a:cubicBezTo>
                  <a:cubicBezTo>
                    <a:pt x="336211" y="350039"/>
                    <a:pt x="343739" y="581516"/>
                    <a:pt x="490529" y="722661"/>
                  </a:cubicBezTo>
                  <a:cubicBezTo>
                    <a:pt x="336211" y="654912"/>
                    <a:pt x="206358" y="545760"/>
                    <a:pt x="132963" y="472364"/>
                  </a:cubicBezTo>
                  <a:cubicBezTo>
                    <a:pt x="176247" y="423434"/>
                    <a:pt x="223295" y="378268"/>
                    <a:pt x="274107" y="334984"/>
                  </a:cubicBezTo>
                  <a:lnTo>
                    <a:pt x="274107" y="334984"/>
                  </a:lnTo>
                  <a:close/>
                  <a:moveTo>
                    <a:pt x="752118" y="752772"/>
                  </a:moveTo>
                  <a:cubicBezTo>
                    <a:pt x="586508" y="752772"/>
                    <a:pt x="451009" y="617273"/>
                    <a:pt x="451009" y="451663"/>
                  </a:cubicBezTo>
                  <a:cubicBezTo>
                    <a:pt x="451009" y="286053"/>
                    <a:pt x="586508" y="150554"/>
                    <a:pt x="752118" y="150554"/>
                  </a:cubicBezTo>
                  <a:cubicBezTo>
                    <a:pt x="917727" y="150554"/>
                    <a:pt x="1053226" y="286053"/>
                    <a:pt x="1053226" y="451663"/>
                  </a:cubicBezTo>
                  <a:cubicBezTo>
                    <a:pt x="1053226" y="617273"/>
                    <a:pt x="917727" y="752772"/>
                    <a:pt x="752118" y="752772"/>
                  </a:cubicBezTo>
                  <a:close/>
                  <a:moveTo>
                    <a:pt x="1484188" y="419670"/>
                  </a:moveTo>
                  <a:cubicBezTo>
                    <a:pt x="1375036" y="291699"/>
                    <a:pt x="1088983" y="0"/>
                    <a:pt x="752118" y="0"/>
                  </a:cubicBezTo>
                  <a:cubicBezTo>
                    <a:pt x="415252" y="0"/>
                    <a:pt x="129199" y="291699"/>
                    <a:pt x="20047" y="419670"/>
                  </a:cubicBezTo>
                  <a:cubicBezTo>
                    <a:pt x="-8182" y="453545"/>
                    <a:pt x="-6300" y="500593"/>
                    <a:pt x="23811" y="532586"/>
                  </a:cubicBezTo>
                  <a:cubicBezTo>
                    <a:pt x="134844" y="649266"/>
                    <a:pt x="419016" y="903327"/>
                    <a:pt x="752118" y="903327"/>
                  </a:cubicBezTo>
                  <a:cubicBezTo>
                    <a:pt x="1085219" y="903327"/>
                    <a:pt x="1369391" y="649266"/>
                    <a:pt x="1482307" y="532586"/>
                  </a:cubicBezTo>
                  <a:cubicBezTo>
                    <a:pt x="1510536" y="502475"/>
                    <a:pt x="1512417" y="453545"/>
                    <a:pt x="1484188" y="419670"/>
                  </a:cubicBezTo>
                  <a:close/>
                </a:path>
              </a:pathLst>
            </a:custGeom>
            <a:grpFill/>
            <a:ln w="18752" cap="flat">
              <a:no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sp>
          <p:nvSpPr>
            <p:cNvPr id="12" name="Freeform: Shape 11">
              <a:extLst>
                <a:ext uri="{FF2B5EF4-FFF2-40B4-BE49-F238E27FC236}">
                  <a16:creationId xmlns:a16="http://schemas.microsoft.com/office/drawing/2014/main" id="{D61F1172-4DD0-426B-B787-B30D3B88D24A}"/>
                </a:ext>
              </a:extLst>
            </p:cNvPr>
            <p:cNvSpPr/>
            <p:nvPr/>
          </p:nvSpPr>
          <p:spPr bwMode="gray">
            <a:xfrm>
              <a:off x="5835862" y="2456310"/>
              <a:ext cx="376386" cy="376386"/>
            </a:xfrm>
            <a:custGeom>
              <a:avLst/>
              <a:gdLst>
                <a:gd name="connsiteX0" fmla="*/ 376386 w 376386"/>
                <a:gd name="connsiteY0" fmla="*/ 188193 h 376386"/>
                <a:gd name="connsiteX1" fmla="*/ 188193 w 376386"/>
                <a:gd name="connsiteY1" fmla="*/ 376386 h 376386"/>
                <a:gd name="connsiteX2" fmla="*/ 0 w 376386"/>
                <a:gd name="connsiteY2" fmla="*/ 188193 h 376386"/>
                <a:gd name="connsiteX3" fmla="*/ 188193 w 376386"/>
                <a:gd name="connsiteY3" fmla="*/ 0 h 376386"/>
                <a:gd name="connsiteX4" fmla="*/ 376386 w 376386"/>
                <a:gd name="connsiteY4" fmla="*/ 188193 h 37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386" h="376386">
                  <a:moveTo>
                    <a:pt x="376386" y="188193"/>
                  </a:moveTo>
                  <a:cubicBezTo>
                    <a:pt x="376386" y="292129"/>
                    <a:pt x="292129" y="376386"/>
                    <a:pt x="188193" y="376386"/>
                  </a:cubicBezTo>
                  <a:cubicBezTo>
                    <a:pt x="84257" y="376386"/>
                    <a:pt x="0" y="292129"/>
                    <a:pt x="0" y="188193"/>
                  </a:cubicBezTo>
                  <a:cubicBezTo>
                    <a:pt x="0" y="84257"/>
                    <a:pt x="84257" y="0"/>
                    <a:pt x="188193" y="0"/>
                  </a:cubicBezTo>
                  <a:cubicBezTo>
                    <a:pt x="292129" y="0"/>
                    <a:pt x="376386" y="84257"/>
                    <a:pt x="376386" y="188193"/>
                  </a:cubicBezTo>
                  <a:close/>
                </a:path>
              </a:pathLst>
            </a:custGeom>
            <a:grpFill/>
            <a:ln w="18752" cap="flat">
              <a:no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grpSp>
      <p:sp>
        <p:nvSpPr>
          <p:cNvPr id="38" name="Freeform 247">
            <a:extLst>
              <a:ext uri="{FF2B5EF4-FFF2-40B4-BE49-F238E27FC236}">
                <a16:creationId xmlns:a16="http://schemas.microsoft.com/office/drawing/2014/main" id="{0DC652BF-3157-4967-A5A5-11B6D0A04D11}"/>
              </a:ext>
            </a:extLst>
          </p:cNvPr>
          <p:cNvSpPr>
            <a:spLocks noEditPoints="1"/>
          </p:cNvSpPr>
          <p:nvPr/>
        </p:nvSpPr>
        <p:spPr bwMode="gray">
          <a:xfrm>
            <a:off x="4448306" y="1619309"/>
            <a:ext cx="681565" cy="686691"/>
          </a:xfrm>
          <a:custGeom>
            <a:avLst/>
            <a:gdLst>
              <a:gd name="T0" fmla="*/ 165 w 247"/>
              <a:gd name="T1" fmla="*/ 82 h 248"/>
              <a:gd name="T2" fmla="*/ 156 w 247"/>
              <a:gd name="T3" fmla="*/ 50 h 248"/>
              <a:gd name="T4" fmla="*/ 187 w 247"/>
              <a:gd name="T5" fmla="*/ 18 h 248"/>
              <a:gd name="T6" fmla="*/ 183 w 247"/>
              <a:gd name="T7" fmla="*/ 14 h 248"/>
              <a:gd name="T8" fmla="*/ 110 w 247"/>
              <a:gd name="T9" fmla="*/ 47 h 248"/>
              <a:gd name="T10" fmla="*/ 112 w 247"/>
              <a:gd name="T11" fmla="*/ 89 h 248"/>
              <a:gd name="T12" fmla="*/ 9 w 247"/>
              <a:gd name="T13" fmla="*/ 192 h 248"/>
              <a:gd name="T14" fmla="*/ 3 w 247"/>
              <a:gd name="T15" fmla="*/ 205 h 248"/>
              <a:gd name="T16" fmla="*/ 43 w 247"/>
              <a:gd name="T17" fmla="*/ 245 h 248"/>
              <a:gd name="T18" fmla="*/ 56 w 247"/>
              <a:gd name="T19" fmla="*/ 238 h 248"/>
              <a:gd name="T20" fmla="*/ 158 w 247"/>
              <a:gd name="T21" fmla="*/ 137 h 248"/>
              <a:gd name="T22" fmla="*/ 201 w 247"/>
              <a:gd name="T23" fmla="*/ 137 h 248"/>
              <a:gd name="T24" fmla="*/ 233 w 247"/>
              <a:gd name="T25" fmla="*/ 64 h 248"/>
              <a:gd name="T26" fmla="*/ 229 w 247"/>
              <a:gd name="T27" fmla="*/ 60 h 248"/>
              <a:gd name="T28" fmla="*/ 198 w 247"/>
              <a:gd name="T29" fmla="*/ 92 h 248"/>
              <a:gd name="T30" fmla="*/ 165 w 247"/>
              <a:gd name="T31" fmla="*/ 82 h 248"/>
              <a:gd name="T32" fmla="*/ 232 w 247"/>
              <a:gd name="T33" fmla="*/ 206 h 248"/>
              <a:gd name="T34" fmla="*/ 216 w 247"/>
              <a:gd name="T35" fmla="*/ 227 h 248"/>
              <a:gd name="T36" fmla="*/ 216 w 247"/>
              <a:gd name="T37" fmla="*/ 227 h 248"/>
              <a:gd name="T38" fmla="*/ 196 w 247"/>
              <a:gd name="T39" fmla="*/ 242 h 248"/>
              <a:gd name="T40" fmla="*/ 181 w 247"/>
              <a:gd name="T41" fmla="*/ 245 h 248"/>
              <a:gd name="T42" fmla="*/ 168 w 247"/>
              <a:gd name="T43" fmla="*/ 238 h 248"/>
              <a:gd name="T44" fmla="*/ 168 w 247"/>
              <a:gd name="T45" fmla="*/ 238 h 248"/>
              <a:gd name="T46" fmla="*/ 168 w 247"/>
              <a:gd name="T47" fmla="*/ 238 h 248"/>
              <a:gd name="T48" fmla="*/ 120 w 247"/>
              <a:gd name="T49" fmla="*/ 190 h 248"/>
              <a:gd name="T50" fmla="*/ 129 w 247"/>
              <a:gd name="T51" fmla="*/ 182 h 248"/>
              <a:gd name="T52" fmla="*/ 176 w 247"/>
              <a:gd name="T53" fmla="*/ 229 h 248"/>
              <a:gd name="T54" fmla="*/ 176 w 247"/>
              <a:gd name="T55" fmla="*/ 229 h 248"/>
              <a:gd name="T56" fmla="*/ 183 w 247"/>
              <a:gd name="T57" fmla="*/ 233 h 248"/>
              <a:gd name="T58" fmla="*/ 186 w 247"/>
              <a:gd name="T59" fmla="*/ 233 h 248"/>
              <a:gd name="T60" fmla="*/ 132 w 247"/>
              <a:gd name="T61" fmla="*/ 178 h 248"/>
              <a:gd name="T62" fmla="*/ 159 w 247"/>
              <a:gd name="T63" fmla="*/ 151 h 248"/>
              <a:gd name="T64" fmla="*/ 167 w 247"/>
              <a:gd name="T65" fmla="*/ 154 h 248"/>
              <a:gd name="T66" fmla="*/ 218 w 247"/>
              <a:gd name="T67" fmla="*/ 206 h 248"/>
              <a:gd name="T68" fmla="*/ 221 w 247"/>
              <a:gd name="T69" fmla="*/ 200 h 248"/>
              <a:gd name="T70" fmla="*/ 223 w 247"/>
              <a:gd name="T71" fmla="*/ 193 h 248"/>
              <a:gd name="T72" fmla="*/ 219 w 247"/>
              <a:gd name="T73" fmla="*/ 187 h 248"/>
              <a:gd name="T74" fmla="*/ 188 w 247"/>
              <a:gd name="T75" fmla="*/ 155 h 248"/>
              <a:gd name="T76" fmla="*/ 200 w 247"/>
              <a:gd name="T77" fmla="*/ 150 h 248"/>
              <a:gd name="T78" fmla="*/ 228 w 247"/>
              <a:gd name="T79" fmla="*/ 178 h 248"/>
              <a:gd name="T80" fmla="*/ 234 w 247"/>
              <a:gd name="T81" fmla="*/ 191 h 248"/>
              <a:gd name="T82" fmla="*/ 232 w 247"/>
              <a:gd name="T83" fmla="*/ 206 h 248"/>
              <a:gd name="T84" fmla="*/ 81 w 247"/>
              <a:gd name="T85" fmla="*/ 104 h 248"/>
              <a:gd name="T86" fmla="*/ 51 w 247"/>
              <a:gd name="T87" fmla="*/ 73 h 248"/>
              <a:gd name="T88" fmla="*/ 38 w 247"/>
              <a:gd name="T89" fmla="*/ 74 h 248"/>
              <a:gd name="T90" fmla="*/ 4 w 247"/>
              <a:gd name="T91" fmla="*/ 32 h 248"/>
              <a:gd name="T92" fmla="*/ 22 w 247"/>
              <a:gd name="T93" fmla="*/ 14 h 248"/>
              <a:gd name="T94" fmla="*/ 63 w 247"/>
              <a:gd name="T95" fmla="*/ 48 h 248"/>
              <a:gd name="T96" fmla="*/ 63 w 247"/>
              <a:gd name="T97" fmla="*/ 61 h 248"/>
              <a:gd name="T98" fmla="*/ 82 w 247"/>
              <a:gd name="T99" fmla="*/ 80 h 248"/>
              <a:gd name="T100" fmla="*/ 94 w 247"/>
              <a:gd name="T101" fmla="*/ 91 h 248"/>
              <a:gd name="T102" fmla="*/ 81 w 247"/>
              <a:gd name="T103" fmla="*/ 104 h 248"/>
              <a:gd name="T104" fmla="*/ 26 w 247"/>
              <a:gd name="T105" fmla="*/ 222 h 248"/>
              <a:gd name="T106" fmla="*/ 26 w 247"/>
              <a:gd name="T107" fmla="*/ 188 h 248"/>
              <a:gd name="T108" fmla="*/ 60 w 247"/>
              <a:gd name="T109" fmla="*/ 188 h 248"/>
              <a:gd name="T110" fmla="*/ 60 w 247"/>
              <a:gd name="T111" fmla="*/ 222 h 248"/>
              <a:gd name="T112" fmla="*/ 26 w 247"/>
              <a:gd name="T113" fmla="*/ 22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 h="248">
                <a:moveTo>
                  <a:pt x="165" y="82"/>
                </a:moveTo>
                <a:cubicBezTo>
                  <a:pt x="155" y="72"/>
                  <a:pt x="148" y="58"/>
                  <a:pt x="156" y="50"/>
                </a:cubicBezTo>
                <a:cubicBezTo>
                  <a:pt x="187" y="18"/>
                  <a:pt x="187" y="18"/>
                  <a:pt x="187" y="18"/>
                </a:cubicBezTo>
                <a:cubicBezTo>
                  <a:pt x="183" y="14"/>
                  <a:pt x="183" y="14"/>
                  <a:pt x="183" y="14"/>
                </a:cubicBezTo>
                <a:cubicBezTo>
                  <a:pt x="169" y="0"/>
                  <a:pt x="125" y="24"/>
                  <a:pt x="110" y="47"/>
                </a:cubicBezTo>
                <a:cubicBezTo>
                  <a:pt x="102" y="58"/>
                  <a:pt x="100" y="75"/>
                  <a:pt x="112" y="89"/>
                </a:cubicBezTo>
                <a:cubicBezTo>
                  <a:pt x="9" y="192"/>
                  <a:pt x="9" y="192"/>
                  <a:pt x="9" y="192"/>
                </a:cubicBezTo>
                <a:cubicBezTo>
                  <a:pt x="6" y="195"/>
                  <a:pt x="3" y="200"/>
                  <a:pt x="3" y="205"/>
                </a:cubicBezTo>
                <a:cubicBezTo>
                  <a:pt x="0" y="224"/>
                  <a:pt x="23" y="248"/>
                  <a:pt x="43" y="245"/>
                </a:cubicBezTo>
                <a:cubicBezTo>
                  <a:pt x="48" y="244"/>
                  <a:pt x="52" y="242"/>
                  <a:pt x="56" y="238"/>
                </a:cubicBezTo>
                <a:cubicBezTo>
                  <a:pt x="158" y="137"/>
                  <a:pt x="158" y="137"/>
                  <a:pt x="158" y="137"/>
                </a:cubicBezTo>
                <a:cubicBezTo>
                  <a:pt x="171" y="149"/>
                  <a:pt x="188" y="146"/>
                  <a:pt x="201" y="137"/>
                </a:cubicBezTo>
                <a:cubicBezTo>
                  <a:pt x="223" y="122"/>
                  <a:pt x="247" y="78"/>
                  <a:pt x="233" y="64"/>
                </a:cubicBezTo>
                <a:cubicBezTo>
                  <a:pt x="229" y="60"/>
                  <a:pt x="229" y="60"/>
                  <a:pt x="229" y="60"/>
                </a:cubicBezTo>
                <a:cubicBezTo>
                  <a:pt x="198" y="92"/>
                  <a:pt x="198" y="92"/>
                  <a:pt x="198" y="92"/>
                </a:cubicBezTo>
                <a:cubicBezTo>
                  <a:pt x="190" y="99"/>
                  <a:pt x="175" y="93"/>
                  <a:pt x="165" y="82"/>
                </a:cubicBezTo>
                <a:close/>
                <a:moveTo>
                  <a:pt x="232" y="206"/>
                </a:moveTo>
                <a:cubicBezTo>
                  <a:pt x="227" y="214"/>
                  <a:pt x="222" y="221"/>
                  <a:pt x="216" y="227"/>
                </a:cubicBezTo>
                <a:cubicBezTo>
                  <a:pt x="216" y="227"/>
                  <a:pt x="216" y="227"/>
                  <a:pt x="216" y="227"/>
                </a:cubicBezTo>
                <a:cubicBezTo>
                  <a:pt x="210" y="233"/>
                  <a:pt x="204" y="238"/>
                  <a:pt x="196" y="242"/>
                </a:cubicBezTo>
                <a:cubicBezTo>
                  <a:pt x="192" y="244"/>
                  <a:pt x="186" y="245"/>
                  <a:pt x="181" y="245"/>
                </a:cubicBezTo>
                <a:cubicBezTo>
                  <a:pt x="177" y="244"/>
                  <a:pt x="172" y="242"/>
                  <a:pt x="168" y="238"/>
                </a:cubicBezTo>
                <a:cubicBezTo>
                  <a:pt x="168" y="238"/>
                  <a:pt x="168" y="238"/>
                  <a:pt x="168" y="238"/>
                </a:cubicBezTo>
                <a:cubicBezTo>
                  <a:pt x="168" y="238"/>
                  <a:pt x="168" y="238"/>
                  <a:pt x="168" y="238"/>
                </a:cubicBezTo>
                <a:cubicBezTo>
                  <a:pt x="120" y="190"/>
                  <a:pt x="120" y="190"/>
                  <a:pt x="120" y="190"/>
                </a:cubicBezTo>
                <a:cubicBezTo>
                  <a:pt x="129" y="182"/>
                  <a:pt x="129" y="182"/>
                  <a:pt x="129" y="182"/>
                </a:cubicBezTo>
                <a:cubicBezTo>
                  <a:pt x="176" y="229"/>
                  <a:pt x="176" y="229"/>
                  <a:pt x="176" y="229"/>
                </a:cubicBezTo>
                <a:cubicBezTo>
                  <a:pt x="176" y="229"/>
                  <a:pt x="176" y="229"/>
                  <a:pt x="176" y="229"/>
                </a:cubicBezTo>
                <a:cubicBezTo>
                  <a:pt x="178" y="231"/>
                  <a:pt x="181" y="232"/>
                  <a:pt x="183" y="233"/>
                </a:cubicBezTo>
                <a:cubicBezTo>
                  <a:pt x="184" y="233"/>
                  <a:pt x="185" y="233"/>
                  <a:pt x="186" y="233"/>
                </a:cubicBezTo>
                <a:cubicBezTo>
                  <a:pt x="132" y="178"/>
                  <a:pt x="132" y="178"/>
                  <a:pt x="132" y="178"/>
                </a:cubicBezTo>
                <a:cubicBezTo>
                  <a:pt x="159" y="151"/>
                  <a:pt x="159" y="151"/>
                  <a:pt x="159" y="151"/>
                </a:cubicBezTo>
                <a:cubicBezTo>
                  <a:pt x="162" y="153"/>
                  <a:pt x="164" y="154"/>
                  <a:pt x="167" y="154"/>
                </a:cubicBezTo>
                <a:cubicBezTo>
                  <a:pt x="218" y="206"/>
                  <a:pt x="218" y="206"/>
                  <a:pt x="218" y="206"/>
                </a:cubicBezTo>
                <a:cubicBezTo>
                  <a:pt x="219" y="204"/>
                  <a:pt x="220" y="202"/>
                  <a:pt x="221" y="200"/>
                </a:cubicBezTo>
                <a:cubicBezTo>
                  <a:pt x="223" y="198"/>
                  <a:pt x="223" y="196"/>
                  <a:pt x="223" y="193"/>
                </a:cubicBezTo>
                <a:cubicBezTo>
                  <a:pt x="222" y="191"/>
                  <a:pt x="221" y="188"/>
                  <a:pt x="219" y="187"/>
                </a:cubicBezTo>
                <a:cubicBezTo>
                  <a:pt x="188" y="155"/>
                  <a:pt x="188" y="155"/>
                  <a:pt x="188" y="155"/>
                </a:cubicBezTo>
                <a:cubicBezTo>
                  <a:pt x="192" y="154"/>
                  <a:pt x="196" y="152"/>
                  <a:pt x="200" y="150"/>
                </a:cubicBezTo>
                <a:cubicBezTo>
                  <a:pt x="228" y="178"/>
                  <a:pt x="228" y="178"/>
                  <a:pt x="228" y="178"/>
                </a:cubicBezTo>
                <a:cubicBezTo>
                  <a:pt x="232" y="182"/>
                  <a:pt x="234" y="187"/>
                  <a:pt x="234" y="191"/>
                </a:cubicBezTo>
                <a:cubicBezTo>
                  <a:pt x="235" y="196"/>
                  <a:pt x="234" y="202"/>
                  <a:pt x="232" y="206"/>
                </a:cubicBezTo>
                <a:close/>
                <a:moveTo>
                  <a:pt x="81" y="104"/>
                </a:moveTo>
                <a:cubicBezTo>
                  <a:pt x="51" y="73"/>
                  <a:pt x="51" y="73"/>
                  <a:pt x="51" y="73"/>
                </a:cubicBezTo>
                <a:cubicBezTo>
                  <a:pt x="38" y="74"/>
                  <a:pt x="38" y="74"/>
                  <a:pt x="38" y="74"/>
                </a:cubicBezTo>
                <a:cubicBezTo>
                  <a:pt x="4" y="32"/>
                  <a:pt x="4" y="32"/>
                  <a:pt x="4" y="32"/>
                </a:cubicBezTo>
                <a:cubicBezTo>
                  <a:pt x="22" y="14"/>
                  <a:pt x="22" y="14"/>
                  <a:pt x="22" y="14"/>
                </a:cubicBezTo>
                <a:cubicBezTo>
                  <a:pt x="63" y="48"/>
                  <a:pt x="63" y="48"/>
                  <a:pt x="63" y="48"/>
                </a:cubicBezTo>
                <a:cubicBezTo>
                  <a:pt x="63" y="61"/>
                  <a:pt x="63" y="61"/>
                  <a:pt x="63" y="61"/>
                </a:cubicBezTo>
                <a:cubicBezTo>
                  <a:pt x="82" y="80"/>
                  <a:pt x="82" y="80"/>
                  <a:pt x="82" y="80"/>
                </a:cubicBezTo>
                <a:cubicBezTo>
                  <a:pt x="94" y="91"/>
                  <a:pt x="94" y="91"/>
                  <a:pt x="94" y="91"/>
                </a:cubicBezTo>
                <a:cubicBezTo>
                  <a:pt x="81" y="104"/>
                  <a:pt x="81" y="104"/>
                  <a:pt x="81" y="104"/>
                </a:cubicBezTo>
                <a:close/>
                <a:moveTo>
                  <a:pt x="26" y="222"/>
                </a:moveTo>
                <a:cubicBezTo>
                  <a:pt x="17" y="212"/>
                  <a:pt x="17" y="197"/>
                  <a:pt x="26" y="188"/>
                </a:cubicBezTo>
                <a:cubicBezTo>
                  <a:pt x="35" y="179"/>
                  <a:pt x="50" y="179"/>
                  <a:pt x="60" y="188"/>
                </a:cubicBezTo>
                <a:cubicBezTo>
                  <a:pt x="69" y="197"/>
                  <a:pt x="69" y="212"/>
                  <a:pt x="60" y="222"/>
                </a:cubicBezTo>
                <a:cubicBezTo>
                  <a:pt x="50" y="231"/>
                  <a:pt x="35" y="231"/>
                  <a:pt x="26" y="222"/>
                </a:cubicBezTo>
                <a:close/>
              </a:path>
            </a:pathLst>
          </a:custGeom>
          <a:solidFill>
            <a:schemeClr val="bg1"/>
          </a:solidFill>
          <a:ln>
            <a:noFill/>
          </a:ln>
        </p:spPr>
        <p:txBody>
          <a:bodyPr vert="horz" wrap="square" lIns="162509" tIns="81255" rIns="162509" bIns="81255" numCol="1" anchor="t" anchorCtr="0" compatLnSpc="1">
            <a:prstTxWarp prst="textNoShape">
              <a:avLst/>
            </a:prstTxWarp>
          </a:bodyPr>
          <a:lstStyle/>
          <a:p>
            <a:pPr defTabSz="1219170" hangingPunct="0"/>
            <a:endParaRPr lang="en-US" sz="3199" kern="0">
              <a:solidFill>
                <a:srgbClr val="000000"/>
              </a:solidFill>
              <a:latin typeface="Segoe UI"/>
              <a:cs typeface="Segoe UI"/>
              <a:sym typeface="Segoe UI"/>
            </a:endParaRPr>
          </a:p>
        </p:txBody>
      </p:sp>
      <p:grpSp>
        <p:nvGrpSpPr>
          <p:cNvPr id="39" name="Group 38">
            <a:extLst>
              <a:ext uri="{FF2B5EF4-FFF2-40B4-BE49-F238E27FC236}">
                <a16:creationId xmlns:a16="http://schemas.microsoft.com/office/drawing/2014/main" id="{07E20646-10EE-4B86-B80E-EF3A0C8CA256}"/>
              </a:ext>
            </a:extLst>
          </p:cNvPr>
          <p:cNvGrpSpPr/>
          <p:nvPr/>
        </p:nvGrpSpPr>
        <p:grpSpPr bwMode="gray">
          <a:xfrm>
            <a:off x="7047643" y="1570104"/>
            <a:ext cx="693844" cy="785105"/>
            <a:chOff x="2058988" y="4144963"/>
            <a:chExt cx="881063" cy="996950"/>
          </a:xfrm>
          <a:solidFill>
            <a:schemeClr val="bg1"/>
          </a:solidFill>
        </p:grpSpPr>
        <p:sp>
          <p:nvSpPr>
            <p:cNvPr id="40" name="Freeform 11">
              <a:extLst>
                <a:ext uri="{FF2B5EF4-FFF2-40B4-BE49-F238E27FC236}">
                  <a16:creationId xmlns:a16="http://schemas.microsoft.com/office/drawing/2014/main" id="{3CB3D475-3CFC-4753-8885-0AC5460062B8}"/>
                </a:ext>
              </a:extLst>
            </p:cNvPr>
            <p:cNvSpPr>
              <a:spLocks noEditPoints="1"/>
            </p:cNvSpPr>
            <p:nvPr/>
          </p:nvSpPr>
          <p:spPr bwMode="gray">
            <a:xfrm>
              <a:off x="2320926" y="4279900"/>
              <a:ext cx="404813" cy="404813"/>
            </a:xfrm>
            <a:custGeom>
              <a:avLst/>
              <a:gdLst>
                <a:gd name="T0" fmla="*/ 78 w 156"/>
                <a:gd name="T1" fmla="*/ 0 h 156"/>
                <a:gd name="T2" fmla="*/ 0 w 156"/>
                <a:gd name="T3" fmla="*/ 78 h 156"/>
                <a:gd name="T4" fmla="*/ 78 w 156"/>
                <a:gd name="T5" fmla="*/ 156 h 156"/>
                <a:gd name="T6" fmla="*/ 156 w 156"/>
                <a:gd name="T7" fmla="*/ 78 h 156"/>
                <a:gd name="T8" fmla="*/ 78 w 156"/>
                <a:gd name="T9" fmla="*/ 0 h 156"/>
                <a:gd name="T10" fmla="*/ 20 w 156"/>
                <a:gd name="T11" fmla="*/ 79 h 156"/>
                <a:gd name="T12" fmla="*/ 14 w 156"/>
                <a:gd name="T13" fmla="*/ 84 h 156"/>
                <a:gd name="T14" fmla="*/ 3 w 156"/>
                <a:gd name="T15" fmla="*/ 84 h 156"/>
                <a:gd name="T16" fmla="*/ 3 w 156"/>
                <a:gd name="T17" fmla="*/ 78 h 156"/>
                <a:gd name="T18" fmla="*/ 3 w 156"/>
                <a:gd name="T19" fmla="*/ 71 h 156"/>
                <a:gd name="T20" fmla="*/ 14 w 156"/>
                <a:gd name="T21" fmla="*/ 71 h 156"/>
                <a:gd name="T22" fmla="*/ 20 w 156"/>
                <a:gd name="T23" fmla="*/ 77 h 156"/>
                <a:gd name="T24" fmla="*/ 20 w 156"/>
                <a:gd name="T25" fmla="*/ 79 h 156"/>
                <a:gd name="T26" fmla="*/ 71 w 156"/>
                <a:gd name="T27" fmla="*/ 3 h 156"/>
                <a:gd name="T28" fmla="*/ 78 w 156"/>
                <a:gd name="T29" fmla="*/ 3 h 156"/>
                <a:gd name="T30" fmla="*/ 84 w 156"/>
                <a:gd name="T31" fmla="*/ 3 h 156"/>
                <a:gd name="T32" fmla="*/ 84 w 156"/>
                <a:gd name="T33" fmla="*/ 14 h 156"/>
                <a:gd name="T34" fmla="*/ 79 w 156"/>
                <a:gd name="T35" fmla="*/ 20 h 156"/>
                <a:gd name="T36" fmla="*/ 77 w 156"/>
                <a:gd name="T37" fmla="*/ 20 h 156"/>
                <a:gd name="T38" fmla="*/ 71 w 156"/>
                <a:gd name="T39" fmla="*/ 14 h 156"/>
                <a:gd name="T40" fmla="*/ 71 w 156"/>
                <a:gd name="T41" fmla="*/ 3 h 156"/>
                <a:gd name="T42" fmla="*/ 84 w 156"/>
                <a:gd name="T43" fmla="*/ 153 h 156"/>
                <a:gd name="T44" fmla="*/ 78 w 156"/>
                <a:gd name="T45" fmla="*/ 153 h 156"/>
                <a:gd name="T46" fmla="*/ 71 w 156"/>
                <a:gd name="T47" fmla="*/ 153 h 156"/>
                <a:gd name="T48" fmla="*/ 71 w 156"/>
                <a:gd name="T49" fmla="*/ 142 h 156"/>
                <a:gd name="T50" fmla="*/ 77 w 156"/>
                <a:gd name="T51" fmla="*/ 136 h 156"/>
                <a:gd name="T52" fmla="*/ 79 w 156"/>
                <a:gd name="T53" fmla="*/ 136 h 156"/>
                <a:gd name="T54" fmla="*/ 84 w 156"/>
                <a:gd name="T55" fmla="*/ 142 h 156"/>
                <a:gd name="T56" fmla="*/ 84 w 156"/>
                <a:gd name="T57" fmla="*/ 153 h 156"/>
                <a:gd name="T58" fmla="*/ 85 w 156"/>
                <a:gd name="T59" fmla="*/ 79 h 156"/>
                <a:gd name="T60" fmla="*/ 81 w 156"/>
                <a:gd name="T61" fmla="*/ 85 h 156"/>
                <a:gd name="T62" fmla="*/ 81 w 156"/>
                <a:gd name="T63" fmla="*/ 85 h 156"/>
                <a:gd name="T64" fmla="*/ 76 w 156"/>
                <a:gd name="T65" fmla="*/ 87 h 156"/>
                <a:gd name="T66" fmla="*/ 38 w 156"/>
                <a:gd name="T67" fmla="*/ 87 h 156"/>
                <a:gd name="T68" fmla="*/ 31 w 156"/>
                <a:gd name="T69" fmla="*/ 80 h 156"/>
                <a:gd name="T70" fmla="*/ 38 w 156"/>
                <a:gd name="T71" fmla="*/ 73 h 156"/>
                <a:gd name="T72" fmla="*/ 68 w 156"/>
                <a:gd name="T73" fmla="*/ 73 h 156"/>
                <a:gd name="T74" fmla="*/ 71 w 156"/>
                <a:gd name="T75" fmla="*/ 71 h 156"/>
                <a:gd name="T76" fmla="*/ 71 w 156"/>
                <a:gd name="T77" fmla="*/ 32 h 156"/>
                <a:gd name="T78" fmla="*/ 78 w 156"/>
                <a:gd name="T79" fmla="*/ 25 h 156"/>
                <a:gd name="T80" fmla="*/ 85 w 156"/>
                <a:gd name="T81" fmla="*/ 32 h 156"/>
                <a:gd name="T82" fmla="*/ 85 w 156"/>
                <a:gd name="T83" fmla="*/ 79 h 156"/>
                <a:gd name="T84" fmla="*/ 136 w 156"/>
                <a:gd name="T85" fmla="*/ 77 h 156"/>
                <a:gd name="T86" fmla="*/ 142 w 156"/>
                <a:gd name="T87" fmla="*/ 71 h 156"/>
                <a:gd name="T88" fmla="*/ 153 w 156"/>
                <a:gd name="T89" fmla="*/ 71 h 156"/>
                <a:gd name="T90" fmla="*/ 153 w 156"/>
                <a:gd name="T91" fmla="*/ 78 h 156"/>
                <a:gd name="T92" fmla="*/ 153 w 156"/>
                <a:gd name="T93" fmla="*/ 84 h 156"/>
                <a:gd name="T94" fmla="*/ 142 w 156"/>
                <a:gd name="T95" fmla="*/ 84 h 156"/>
                <a:gd name="T96" fmla="*/ 136 w 156"/>
                <a:gd name="T97" fmla="*/ 79 h 156"/>
                <a:gd name="T98" fmla="*/ 136 w 156"/>
                <a:gd name="T99" fmla="*/ 7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6" h="156">
                  <a:moveTo>
                    <a:pt x="78" y="0"/>
                  </a:moveTo>
                  <a:cubicBezTo>
                    <a:pt x="35" y="0"/>
                    <a:pt x="0" y="35"/>
                    <a:pt x="0" y="78"/>
                  </a:cubicBezTo>
                  <a:cubicBezTo>
                    <a:pt x="0" y="121"/>
                    <a:pt x="35" y="156"/>
                    <a:pt x="78" y="156"/>
                  </a:cubicBezTo>
                  <a:cubicBezTo>
                    <a:pt x="121" y="156"/>
                    <a:pt x="156" y="121"/>
                    <a:pt x="156" y="78"/>
                  </a:cubicBezTo>
                  <a:cubicBezTo>
                    <a:pt x="156" y="35"/>
                    <a:pt x="121" y="0"/>
                    <a:pt x="78" y="0"/>
                  </a:cubicBezTo>
                  <a:close/>
                  <a:moveTo>
                    <a:pt x="20" y="79"/>
                  </a:moveTo>
                  <a:cubicBezTo>
                    <a:pt x="20" y="82"/>
                    <a:pt x="17" y="84"/>
                    <a:pt x="14" y="84"/>
                  </a:cubicBezTo>
                  <a:cubicBezTo>
                    <a:pt x="3" y="84"/>
                    <a:pt x="3" y="84"/>
                    <a:pt x="3" y="84"/>
                  </a:cubicBezTo>
                  <a:cubicBezTo>
                    <a:pt x="3" y="82"/>
                    <a:pt x="3" y="80"/>
                    <a:pt x="3" y="78"/>
                  </a:cubicBezTo>
                  <a:cubicBezTo>
                    <a:pt x="3" y="76"/>
                    <a:pt x="3" y="74"/>
                    <a:pt x="3" y="71"/>
                  </a:cubicBezTo>
                  <a:cubicBezTo>
                    <a:pt x="14" y="71"/>
                    <a:pt x="14" y="71"/>
                    <a:pt x="14" y="71"/>
                  </a:cubicBezTo>
                  <a:cubicBezTo>
                    <a:pt x="17" y="71"/>
                    <a:pt x="20" y="74"/>
                    <a:pt x="20" y="77"/>
                  </a:cubicBezTo>
                  <a:lnTo>
                    <a:pt x="20" y="79"/>
                  </a:lnTo>
                  <a:close/>
                  <a:moveTo>
                    <a:pt x="71" y="3"/>
                  </a:moveTo>
                  <a:cubicBezTo>
                    <a:pt x="73" y="3"/>
                    <a:pt x="76" y="3"/>
                    <a:pt x="78" y="3"/>
                  </a:cubicBezTo>
                  <a:cubicBezTo>
                    <a:pt x="80" y="3"/>
                    <a:pt x="82" y="3"/>
                    <a:pt x="84" y="3"/>
                  </a:cubicBezTo>
                  <a:cubicBezTo>
                    <a:pt x="84" y="14"/>
                    <a:pt x="84" y="14"/>
                    <a:pt x="84" y="14"/>
                  </a:cubicBezTo>
                  <a:cubicBezTo>
                    <a:pt x="84" y="17"/>
                    <a:pt x="82" y="20"/>
                    <a:pt x="79" y="20"/>
                  </a:cubicBezTo>
                  <a:cubicBezTo>
                    <a:pt x="77" y="20"/>
                    <a:pt x="77" y="20"/>
                    <a:pt x="77" y="20"/>
                  </a:cubicBezTo>
                  <a:cubicBezTo>
                    <a:pt x="74" y="20"/>
                    <a:pt x="71" y="17"/>
                    <a:pt x="71" y="14"/>
                  </a:cubicBezTo>
                  <a:lnTo>
                    <a:pt x="71" y="3"/>
                  </a:lnTo>
                  <a:close/>
                  <a:moveTo>
                    <a:pt x="84" y="153"/>
                  </a:moveTo>
                  <a:cubicBezTo>
                    <a:pt x="82" y="153"/>
                    <a:pt x="80" y="153"/>
                    <a:pt x="78" y="153"/>
                  </a:cubicBezTo>
                  <a:cubicBezTo>
                    <a:pt x="76" y="153"/>
                    <a:pt x="73" y="153"/>
                    <a:pt x="71" y="153"/>
                  </a:cubicBezTo>
                  <a:cubicBezTo>
                    <a:pt x="71" y="142"/>
                    <a:pt x="71" y="142"/>
                    <a:pt x="71" y="142"/>
                  </a:cubicBezTo>
                  <a:cubicBezTo>
                    <a:pt x="71" y="138"/>
                    <a:pt x="74" y="136"/>
                    <a:pt x="77" y="136"/>
                  </a:cubicBezTo>
                  <a:cubicBezTo>
                    <a:pt x="79" y="136"/>
                    <a:pt x="79" y="136"/>
                    <a:pt x="79" y="136"/>
                  </a:cubicBezTo>
                  <a:cubicBezTo>
                    <a:pt x="82" y="136"/>
                    <a:pt x="84" y="138"/>
                    <a:pt x="84" y="142"/>
                  </a:cubicBezTo>
                  <a:lnTo>
                    <a:pt x="84" y="153"/>
                  </a:lnTo>
                  <a:close/>
                  <a:moveTo>
                    <a:pt x="85" y="79"/>
                  </a:moveTo>
                  <a:cubicBezTo>
                    <a:pt x="85" y="81"/>
                    <a:pt x="83" y="84"/>
                    <a:pt x="81" y="85"/>
                  </a:cubicBezTo>
                  <a:cubicBezTo>
                    <a:pt x="81" y="85"/>
                    <a:pt x="81" y="85"/>
                    <a:pt x="81" y="85"/>
                  </a:cubicBezTo>
                  <a:cubicBezTo>
                    <a:pt x="80" y="86"/>
                    <a:pt x="78" y="87"/>
                    <a:pt x="76" y="87"/>
                  </a:cubicBezTo>
                  <a:cubicBezTo>
                    <a:pt x="38" y="87"/>
                    <a:pt x="38" y="87"/>
                    <a:pt x="38" y="87"/>
                  </a:cubicBezTo>
                  <a:cubicBezTo>
                    <a:pt x="34" y="87"/>
                    <a:pt x="31" y="84"/>
                    <a:pt x="31" y="80"/>
                  </a:cubicBezTo>
                  <a:cubicBezTo>
                    <a:pt x="31" y="76"/>
                    <a:pt x="34" y="73"/>
                    <a:pt x="38" y="73"/>
                  </a:cubicBezTo>
                  <a:cubicBezTo>
                    <a:pt x="68" y="73"/>
                    <a:pt x="68" y="73"/>
                    <a:pt x="68" y="73"/>
                  </a:cubicBezTo>
                  <a:cubicBezTo>
                    <a:pt x="70" y="73"/>
                    <a:pt x="71" y="72"/>
                    <a:pt x="71" y="71"/>
                  </a:cubicBezTo>
                  <a:cubicBezTo>
                    <a:pt x="71" y="32"/>
                    <a:pt x="71" y="32"/>
                    <a:pt x="71" y="32"/>
                  </a:cubicBezTo>
                  <a:cubicBezTo>
                    <a:pt x="71" y="29"/>
                    <a:pt x="74" y="25"/>
                    <a:pt x="78" y="25"/>
                  </a:cubicBezTo>
                  <a:cubicBezTo>
                    <a:pt x="82" y="25"/>
                    <a:pt x="85" y="29"/>
                    <a:pt x="85" y="32"/>
                  </a:cubicBezTo>
                  <a:lnTo>
                    <a:pt x="85" y="79"/>
                  </a:lnTo>
                  <a:close/>
                  <a:moveTo>
                    <a:pt x="136" y="77"/>
                  </a:moveTo>
                  <a:cubicBezTo>
                    <a:pt x="136" y="74"/>
                    <a:pt x="138" y="71"/>
                    <a:pt x="142" y="71"/>
                  </a:cubicBezTo>
                  <a:cubicBezTo>
                    <a:pt x="153" y="71"/>
                    <a:pt x="153" y="71"/>
                    <a:pt x="153" y="71"/>
                  </a:cubicBezTo>
                  <a:cubicBezTo>
                    <a:pt x="153" y="74"/>
                    <a:pt x="153" y="76"/>
                    <a:pt x="153" y="78"/>
                  </a:cubicBezTo>
                  <a:cubicBezTo>
                    <a:pt x="153" y="80"/>
                    <a:pt x="153" y="82"/>
                    <a:pt x="153" y="84"/>
                  </a:cubicBezTo>
                  <a:cubicBezTo>
                    <a:pt x="142" y="84"/>
                    <a:pt x="142" y="84"/>
                    <a:pt x="142" y="84"/>
                  </a:cubicBezTo>
                  <a:cubicBezTo>
                    <a:pt x="138" y="84"/>
                    <a:pt x="136" y="82"/>
                    <a:pt x="136" y="79"/>
                  </a:cubicBezTo>
                  <a:lnTo>
                    <a:pt x="136"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hangingPunct="0"/>
              <a:endParaRPr lang="en-US" sz="2400" kern="0">
                <a:solidFill>
                  <a:srgbClr val="000000"/>
                </a:solidFill>
                <a:latin typeface="Segoe UI"/>
                <a:cs typeface="Segoe UI"/>
                <a:sym typeface="Segoe UI"/>
              </a:endParaRPr>
            </a:p>
          </p:txBody>
        </p:sp>
        <p:sp>
          <p:nvSpPr>
            <p:cNvPr id="41" name="Freeform 12">
              <a:extLst>
                <a:ext uri="{FF2B5EF4-FFF2-40B4-BE49-F238E27FC236}">
                  <a16:creationId xmlns:a16="http://schemas.microsoft.com/office/drawing/2014/main" id="{A40834DF-7C2E-4C55-AFD8-9C2485199E5D}"/>
                </a:ext>
              </a:extLst>
            </p:cNvPr>
            <p:cNvSpPr>
              <a:spLocks noEditPoints="1"/>
            </p:cNvSpPr>
            <p:nvPr/>
          </p:nvSpPr>
          <p:spPr bwMode="gray">
            <a:xfrm>
              <a:off x="2058988" y="4144963"/>
              <a:ext cx="881063" cy="996950"/>
            </a:xfrm>
            <a:custGeom>
              <a:avLst/>
              <a:gdLst>
                <a:gd name="T0" fmla="*/ 165 w 340"/>
                <a:gd name="T1" fmla="*/ 0 h 385"/>
                <a:gd name="T2" fmla="*/ 26 w 340"/>
                <a:gd name="T3" fmla="*/ 146 h 385"/>
                <a:gd name="T4" fmla="*/ 29 w 340"/>
                <a:gd name="T5" fmla="*/ 162 h 385"/>
                <a:gd name="T6" fmla="*/ 3 w 340"/>
                <a:gd name="T7" fmla="*/ 228 h 385"/>
                <a:gd name="T8" fmla="*/ 13 w 340"/>
                <a:gd name="T9" fmla="*/ 248 h 385"/>
                <a:gd name="T10" fmla="*/ 21 w 340"/>
                <a:gd name="T11" fmla="*/ 261 h 385"/>
                <a:gd name="T12" fmla="*/ 23 w 340"/>
                <a:gd name="T13" fmla="*/ 274 h 385"/>
                <a:gd name="T14" fmla="*/ 39 w 340"/>
                <a:gd name="T15" fmla="*/ 281 h 385"/>
                <a:gd name="T16" fmla="*/ 32 w 340"/>
                <a:gd name="T17" fmla="*/ 288 h 385"/>
                <a:gd name="T18" fmla="*/ 35 w 340"/>
                <a:gd name="T19" fmla="*/ 300 h 385"/>
                <a:gd name="T20" fmla="*/ 46 w 340"/>
                <a:gd name="T21" fmla="*/ 307 h 385"/>
                <a:gd name="T22" fmla="*/ 46 w 340"/>
                <a:gd name="T23" fmla="*/ 335 h 385"/>
                <a:gd name="T24" fmla="*/ 71 w 340"/>
                <a:gd name="T25" fmla="*/ 358 h 385"/>
                <a:gd name="T26" fmla="*/ 119 w 340"/>
                <a:gd name="T27" fmla="*/ 346 h 385"/>
                <a:gd name="T28" fmla="*/ 127 w 340"/>
                <a:gd name="T29" fmla="*/ 385 h 385"/>
                <a:gd name="T30" fmla="*/ 259 w 340"/>
                <a:gd name="T31" fmla="*/ 343 h 385"/>
                <a:gd name="T32" fmla="*/ 268 w 340"/>
                <a:gd name="T33" fmla="*/ 341 h 385"/>
                <a:gd name="T34" fmla="*/ 261 w 340"/>
                <a:gd name="T35" fmla="*/ 289 h 385"/>
                <a:gd name="T36" fmla="*/ 325 w 340"/>
                <a:gd name="T37" fmla="*/ 170 h 385"/>
                <a:gd name="T38" fmla="*/ 165 w 340"/>
                <a:gd name="T39" fmla="*/ 0 h 385"/>
                <a:gd name="T40" fmla="*/ 179 w 340"/>
                <a:gd name="T41" fmla="*/ 226 h 385"/>
                <a:gd name="T42" fmla="*/ 82 w 340"/>
                <a:gd name="T43" fmla="*/ 130 h 385"/>
                <a:gd name="T44" fmla="*/ 179 w 340"/>
                <a:gd name="T45" fmla="*/ 34 h 385"/>
                <a:gd name="T46" fmla="*/ 275 w 340"/>
                <a:gd name="T47" fmla="*/ 130 h 385"/>
                <a:gd name="T48" fmla="*/ 179 w 340"/>
                <a:gd name="T49" fmla="*/ 22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0" h="385">
                  <a:moveTo>
                    <a:pt x="165" y="0"/>
                  </a:moveTo>
                  <a:cubicBezTo>
                    <a:pt x="81" y="0"/>
                    <a:pt x="26" y="63"/>
                    <a:pt x="26" y="146"/>
                  </a:cubicBezTo>
                  <a:cubicBezTo>
                    <a:pt x="26" y="150"/>
                    <a:pt x="29" y="152"/>
                    <a:pt x="29" y="162"/>
                  </a:cubicBezTo>
                  <a:cubicBezTo>
                    <a:pt x="30" y="171"/>
                    <a:pt x="6" y="220"/>
                    <a:pt x="3" y="228"/>
                  </a:cubicBezTo>
                  <a:cubicBezTo>
                    <a:pt x="0" y="235"/>
                    <a:pt x="2" y="248"/>
                    <a:pt x="13" y="248"/>
                  </a:cubicBezTo>
                  <a:cubicBezTo>
                    <a:pt x="27" y="247"/>
                    <a:pt x="28" y="256"/>
                    <a:pt x="21" y="261"/>
                  </a:cubicBezTo>
                  <a:cubicBezTo>
                    <a:pt x="18" y="263"/>
                    <a:pt x="21" y="273"/>
                    <a:pt x="23" y="274"/>
                  </a:cubicBezTo>
                  <a:cubicBezTo>
                    <a:pt x="26" y="276"/>
                    <a:pt x="38" y="280"/>
                    <a:pt x="39" y="281"/>
                  </a:cubicBezTo>
                  <a:cubicBezTo>
                    <a:pt x="39" y="282"/>
                    <a:pt x="34" y="285"/>
                    <a:pt x="32" y="288"/>
                  </a:cubicBezTo>
                  <a:cubicBezTo>
                    <a:pt x="31" y="291"/>
                    <a:pt x="35" y="300"/>
                    <a:pt x="35" y="300"/>
                  </a:cubicBezTo>
                  <a:cubicBezTo>
                    <a:pt x="35" y="300"/>
                    <a:pt x="39" y="303"/>
                    <a:pt x="46" y="307"/>
                  </a:cubicBezTo>
                  <a:cubicBezTo>
                    <a:pt x="54" y="313"/>
                    <a:pt x="46" y="330"/>
                    <a:pt x="46" y="335"/>
                  </a:cubicBezTo>
                  <a:cubicBezTo>
                    <a:pt x="47" y="340"/>
                    <a:pt x="53" y="358"/>
                    <a:pt x="71" y="358"/>
                  </a:cubicBezTo>
                  <a:cubicBezTo>
                    <a:pt x="89" y="358"/>
                    <a:pt x="119" y="346"/>
                    <a:pt x="119" y="346"/>
                  </a:cubicBezTo>
                  <a:cubicBezTo>
                    <a:pt x="127" y="385"/>
                    <a:pt x="127" y="385"/>
                    <a:pt x="127" y="385"/>
                  </a:cubicBezTo>
                  <a:cubicBezTo>
                    <a:pt x="133" y="383"/>
                    <a:pt x="234" y="351"/>
                    <a:pt x="259" y="343"/>
                  </a:cubicBezTo>
                  <a:cubicBezTo>
                    <a:pt x="262" y="343"/>
                    <a:pt x="265" y="342"/>
                    <a:pt x="268" y="341"/>
                  </a:cubicBezTo>
                  <a:cubicBezTo>
                    <a:pt x="261" y="289"/>
                    <a:pt x="261" y="289"/>
                    <a:pt x="261" y="289"/>
                  </a:cubicBezTo>
                  <a:cubicBezTo>
                    <a:pt x="278" y="260"/>
                    <a:pt x="320" y="214"/>
                    <a:pt x="325" y="170"/>
                  </a:cubicBezTo>
                  <a:cubicBezTo>
                    <a:pt x="340" y="56"/>
                    <a:pt x="261" y="0"/>
                    <a:pt x="165" y="0"/>
                  </a:cubicBezTo>
                  <a:close/>
                  <a:moveTo>
                    <a:pt x="179" y="226"/>
                  </a:moveTo>
                  <a:cubicBezTo>
                    <a:pt x="126" y="226"/>
                    <a:pt x="82" y="183"/>
                    <a:pt x="82" y="130"/>
                  </a:cubicBezTo>
                  <a:cubicBezTo>
                    <a:pt x="82" y="77"/>
                    <a:pt x="126" y="34"/>
                    <a:pt x="179" y="34"/>
                  </a:cubicBezTo>
                  <a:cubicBezTo>
                    <a:pt x="232" y="34"/>
                    <a:pt x="275" y="77"/>
                    <a:pt x="275" y="130"/>
                  </a:cubicBezTo>
                  <a:cubicBezTo>
                    <a:pt x="275" y="183"/>
                    <a:pt x="232" y="226"/>
                    <a:pt x="179"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hangingPunct="0"/>
              <a:endParaRPr lang="en-US" sz="2400" kern="0">
                <a:solidFill>
                  <a:srgbClr val="000000"/>
                </a:solidFill>
                <a:latin typeface="Segoe UI"/>
                <a:cs typeface="Segoe UI"/>
                <a:sym typeface="Segoe UI"/>
              </a:endParaRPr>
            </a:p>
          </p:txBody>
        </p:sp>
      </p:grpSp>
      <p:grpSp>
        <p:nvGrpSpPr>
          <p:cNvPr id="20" name="Group 19">
            <a:extLst>
              <a:ext uri="{FF2B5EF4-FFF2-40B4-BE49-F238E27FC236}">
                <a16:creationId xmlns:a16="http://schemas.microsoft.com/office/drawing/2014/main" id="{B1257156-1CB5-46A0-A60A-073BAE462445}"/>
              </a:ext>
            </a:extLst>
          </p:cNvPr>
          <p:cNvGrpSpPr/>
          <p:nvPr/>
        </p:nvGrpSpPr>
        <p:grpSpPr bwMode="gray">
          <a:xfrm>
            <a:off x="9486452" y="1613700"/>
            <a:ext cx="1027177" cy="697909"/>
            <a:chOff x="6617970" y="451104"/>
            <a:chExt cx="770383" cy="523432"/>
          </a:xfrm>
        </p:grpSpPr>
        <p:sp>
          <p:nvSpPr>
            <p:cNvPr id="15" name="Arrow: Right 14">
              <a:extLst>
                <a:ext uri="{FF2B5EF4-FFF2-40B4-BE49-F238E27FC236}">
                  <a16:creationId xmlns:a16="http://schemas.microsoft.com/office/drawing/2014/main" id="{8B0C6E53-7C78-4BAC-B7F3-655F82A6DDE6}"/>
                </a:ext>
              </a:extLst>
            </p:cNvPr>
            <p:cNvSpPr/>
            <p:nvPr/>
          </p:nvSpPr>
          <p:spPr bwMode="gray">
            <a:xfrm>
              <a:off x="6617970" y="570505"/>
              <a:ext cx="376947" cy="284631"/>
            </a:xfrm>
            <a:prstGeom prst="rightArrow">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pSp>
          <p:nvGrpSpPr>
            <p:cNvPr id="17" name="Group 16">
              <a:extLst>
                <a:ext uri="{FF2B5EF4-FFF2-40B4-BE49-F238E27FC236}">
                  <a16:creationId xmlns:a16="http://schemas.microsoft.com/office/drawing/2014/main" id="{96036735-2DFB-4A09-A1C8-06A4ED1389E6}"/>
                </a:ext>
              </a:extLst>
            </p:cNvPr>
            <p:cNvGrpSpPr/>
            <p:nvPr/>
          </p:nvGrpSpPr>
          <p:grpSpPr bwMode="gray">
            <a:xfrm>
              <a:off x="6989827" y="451104"/>
              <a:ext cx="398526" cy="523432"/>
              <a:chOff x="6989827" y="451104"/>
              <a:chExt cx="398526" cy="523432"/>
            </a:xfrm>
          </p:grpSpPr>
          <p:sp>
            <p:nvSpPr>
              <p:cNvPr id="42" name="Arrow: Right 41">
                <a:extLst>
                  <a:ext uri="{FF2B5EF4-FFF2-40B4-BE49-F238E27FC236}">
                    <a16:creationId xmlns:a16="http://schemas.microsoft.com/office/drawing/2014/main" id="{7D8D1F4B-B9D9-47BD-B94B-986D0CFF46E9}"/>
                  </a:ext>
                </a:extLst>
              </p:cNvPr>
              <p:cNvSpPr/>
              <p:nvPr/>
            </p:nvSpPr>
            <p:spPr bwMode="gray">
              <a:xfrm>
                <a:off x="6989827" y="451104"/>
                <a:ext cx="282702" cy="163768"/>
              </a:xfrm>
              <a:prstGeom prst="rightArrow">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43" name="Arrow: Right 42">
                <a:extLst>
                  <a:ext uri="{FF2B5EF4-FFF2-40B4-BE49-F238E27FC236}">
                    <a16:creationId xmlns:a16="http://schemas.microsoft.com/office/drawing/2014/main" id="{3F587803-0216-4B16-A86A-F8A950F8DD43}"/>
                  </a:ext>
                </a:extLst>
              </p:cNvPr>
              <p:cNvSpPr/>
              <p:nvPr/>
            </p:nvSpPr>
            <p:spPr bwMode="gray">
              <a:xfrm>
                <a:off x="7105651" y="630936"/>
                <a:ext cx="282702" cy="163768"/>
              </a:xfrm>
              <a:prstGeom prst="rightArrow">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44" name="Arrow: Right 43">
                <a:extLst>
                  <a:ext uri="{FF2B5EF4-FFF2-40B4-BE49-F238E27FC236}">
                    <a16:creationId xmlns:a16="http://schemas.microsoft.com/office/drawing/2014/main" id="{3FEE1B6D-646C-46B4-B670-FF71E1C58C7F}"/>
                  </a:ext>
                </a:extLst>
              </p:cNvPr>
              <p:cNvSpPr/>
              <p:nvPr/>
            </p:nvSpPr>
            <p:spPr bwMode="gray">
              <a:xfrm>
                <a:off x="6989827" y="810768"/>
                <a:ext cx="282702" cy="163768"/>
              </a:xfrm>
              <a:prstGeom prst="rightArrow">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pSp>
      </p:grpSp>
      <p:grpSp>
        <p:nvGrpSpPr>
          <p:cNvPr id="48" name="Gruppieren 47">
            <a:extLst>
              <a:ext uri="{FF2B5EF4-FFF2-40B4-BE49-F238E27FC236}">
                <a16:creationId xmlns:a16="http://schemas.microsoft.com/office/drawing/2014/main" id="{679DED36-73F7-484B-A43B-B5207D78AD0E}"/>
              </a:ext>
            </a:extLst>
          </p:cNvPr>
          <p:cNvGrpSpPr/>
          <p:nvPr/>
        </p:nvGrpSpPr>
        <p:grpSpPr bwMode="gray">
          <a:xfrm>
            <a:off x="11564326" y="162392"/>
            <a:ext cx="547663" cy="683491"/>
            <a:chOff x="8673244" y="121794"/>
            <a:chExt cx="410747" cy="512618"/>
          </a:xfrm>
        </p:grpSpPr>
        <p:grpSp>
          <p:nvGrpSpPr>
            <p:cNvPr id="49" name="Gruppieren 48">
              <a:extLst>
                <a:ext uri="{FF2B5EF4-FFF2-40B4-BE49-F238E27FC236}">
                  <a16:creationId xmlns:a16="http://schemas.microsoft.com/office/drawing/2014/main" id="{FD36E1B8-E33E-45A7-B14F-902EDEE2D673}"/>
                </a:ext>
              </a:extLst>
            </p:cNvPr>
            <p:cNvGrpSpPr/>
            <p:nvPr/>
          </p:nvGrpSpPr>
          <p:grpSpPr bwMode="gray">
            <a:xfrm>
              <a:off x="8673244" y="121794"/>
              <a:ext cx="410747" cy="512618"/>
              <a:chOff x="8166407" y="354405"/>
              <a:chExt cx="564701" cy="704754"/>
            </a:xfrm>
          </p:grpSpPr>
          <p:sp>
            <p:nvSpPr>
              <p:cNvPr id="51" name="Circle">
                <a:hlinkClick r:id="" action="ppaction://noaction"/>
                <a:extLst>
                  <a:ext uri="{FF2B5EF4-FFF2-40B4-BE49-F238E27FC236}">
                    <a16:creationId xmlns:a16="http://schemas.microsoft.com/office/drawing/2014/main" id="{F7E499D7-2AA5-4AF5-B3B0-245792714C6E}"/>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52" name="Rectangle 17">
                <a:extLst>
                  <a:ext uri="{FF2B5EF4-FFF2-40B4-BE49-F238E27FC236}">
                    <a16:creationId xmlns:a16="http://schemas.microsoft.com/office/drawing/2014/main" id="{BF1F5B69-85DA-42F3-B433-6520EA717F21}"/>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FFFFFF"/>
                    </a:solidFill>
                  </a:rPr>
                  <a:t>MENÚ</a:t>
                </a:r>
              </a:p>
            </p:txBody>
          </p:sp>
        </p:grpSp>
        <p:pic>
          <p:nvPicPr>
            <p:cNvPr id="50" name="Grafik 49" descr="Zurück mit einfarbiger Füllung">
              <a:hlinkClick r:id="" action="ppaction://noaction"/>
              <a:extLst>
                <a:ext uri="{FF2B5EF4-FFF2-40B4-BE49-F238E27FC236}">
                  <a16:creationId xmlns:a16="http://schemas.microsoft.com/office/drawing/2014/main" id="{1D37689A-51DE-4B77-BB2F-02103B12DC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bwMode="gray">
            <a:xfrm>
              <a:off x="8732841" y="132370"/>
              <a:ext cx="285750" cy="285750"/>
            </a:xfrm>
            <a:prstGeom prst="rect">
              <a:avLst/>
            </a:prstGeom>
          </p:spPr>
        </p:pic>
      </p:grpSp>
      <p:sp>
        <p:nvSpPr>
          <p:cNvPr id="37" name="ZoneTexte 13">
            <a:extLst>
              <a:ext uri="{FF2B5EF4-FFF2-40B4-BE49-F238E27FC236}">
                <a16:creationId xmlns:a16="http://schemas.microsoft.com/office/drawing/2014/main" id="{54093D07-EB31-4DEB-BDAC-A0AEEC0577D2}"/>
              </a:ext>
            </a:extLst>
          </p:cNvPr>
          <p:cNvSpPr txBox="1"/>
          <p:nvPr/>
        </p:nvSpPr>
        <p:spPr bwMode="gray">
          <a:xfrm>
            <a:off x="6209031" y="2895234"/>
            <a:ext cx="2533295" cy="13131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gn="ctr" defTabSz="1219170" hangingPunct="0">
              <a:spcAft>
                <a:spcPts val="1067"/>
              </a:spcAft>
            </a:pPr>
            <a:r>
              <a:rPr lang="es-ES" sz="1600" b="1" kern="0">
                <a:solidFill>
                  <a:srgbClr val="FFFFFF"/>
                </a:solidFill>
                <a:latin typeface="Segoe UI"/>
                <a:cs typeface="Segoe UI"/>
                <a:sym typeface="Segoe UI"/>
              </a:rPr>
              <a:t>Identifica y resuelve los problemas antes de que empeoren</a:t>
            </a:r>
          </a:p>
          <a:p>
            <a:pPr algn="ctr" defTabSz="1219170" hangingPunct="0">
              <a:spcAft>
                <a:spcPts val="1067"/>
              </a:spcAft>
            </a:pPr>
            <a:r>
              <a:rPr lang="es-ES" sz="1333" kern="0">
                <a:solidFill>
                  <a:srgbClr val="FFFFFF"/>
                </a:solidFill>
                <a:latin typeface="Segoe UI Light" panose="020B0502040204020203" pitchFamily="34" charset="0"/>
                <a:cs typeface="Segoe UI Light" panose="020B0502040204020203" pitchFamily="34" charset="0"/>
                <a:sym typeface="Segoe UI"/>
              </a:rPr>
              <a:t>Utiliza el análisis de datos para limitar los riesgos en las plantas de producción y aumentar la eficiencia.</a:t>
            </a:r>
          </a:p>
        </p:txBody>
      </p:sp>
      <p:sp>
        <p:nvSpPr>
          <p:cNvPr id="45" name="ZoneTexte 13">
            <a:extLst>
              <a:ext uri="{FF2B5EF4-FFF2-40B4-BE49-F238E27FC236}">
                <a16:creationId xmlns:a16="http://schemas.microsoft.com/office/drawing/2014/main" id="{D2478D4F-704F-4C9A-8E25-38A7D289B7C9}"/>
              </a:ext>
            </a:extLst>
          </p:cNvPr>
          <p:cNvSpPr txBox="1"/>
          <p:nvPr/>
        </p:nvSpPr>
        <p:spPr bwMode="gray">
          <a:xfrm>
            <a:off x="8814506" y="2895234"/>
            <a:ext cx="2371068" cy="131318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oAutofit/>
          </a:bodyPr>
          <a:lstStyle/>
          <a:p>
            <a:pPr algn="ctr" defTabSz="1219170" hangingPunct="0">
              <a:spcAft>
                <a:spcPts val="1067"/>
              </a:spcAft>
            </a:pPr>
            <a:r>
              <a:rPr lang="es-ES" sz="1600" b="1" kern="0">
                <a:solidFill>
                  <a:srgbClr val="FFFFFF"/>
                </a:solidFill>
                <a:latin typeface="Segoe UI"/>
                <a:cs typeface="Segoe UI"/>
                <a:sym typeface="Segoe UI"/>
              </a:rPr>
              <a:t>Amplía </a:t>
            </a:r>
          </a:p>
          <a:p>
            <a:pPr algn="ctr" defTabSz="1219170" hangingPunct="0">
              <a:spcAft>
                <a:spcPts val="1067"/>
              </a:spcAft>
            </a:pPr>
            <a:r>
              <a:rPr lang="es-ES" sz="1333" kern="0">
                <a:solidFill>
                  <a:srgbClr val="FFFFFF"/>
                </a:solidFill>
                <a:latin typeface="Segoe UI Light" panose="020B0502040204020203" pitchFamily="34" charset="0"/>
                <a:cs typeface="Segoe UI Light" panose="020B0502040204020203" pitchFamily="34" charset="0"/>
                <a:sym typeface="Segoe UI"/>
              </a:rPr>
              <a:t>Amplía a diferentes activos </a:t>
            </a:r>
            <a:br>
              <a:rPr lang="es-ES" sz="1333" kern="0">
                <a:solidFill>
                  <a:srgbClr val="FFFFFF"/>
                </a:solidFill>
                <a:latin typeface="Segoe UI Light" panose="020B0502040204020203" pitchFamily="34" charset="0"/>
                <a:cs typeface="Segoe UI Light" panose="020B0502040204020203" pitchFamily="34" charset="0"/>
                <a:sym typeface="Segoe UI"/>
              </a:rPr>
            </a:br>
            <a:r>
              <a:rPr lang="es-ES" sz="1333" kern="0">
                <a:solidFill>
                  <a:srgbClr val="FFFFFF"/>
                </a:solidFill>
                <a:latin typeface="Segoe UI Light" panose="020B0502040204020203" pitchFamily="34" charset="0"/>
                <a:cs typeface="Segoe UI Light" panose="020B0502040204020203" pitchFamily="34" charset="0"/>
                <a:sym typeface="Segoe UI"/>
              </a:rPr>
              <a:t>(50 -5000) y marcas, utilizando una única aplicación.</a:t>
            </a:r>
          </a:p>
        </p:txBody>
      </p:sp>
    </p:spTree>
    <p:extLst>
      <p:ext uri="{BB962C8B-B14F-4D97-AF65-F5344CB8AC3E}">
        <p14:creationId xmlns:p14="http://schemas.microsoft.com/office/powerpoint/2010/main" val="206377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500"/>
                                        <p:tgtEl>
                                          <p:spTgt spid="39"/>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4" grpId="0"/>
      <p:bldP spid="31" grpId="0"/>
      <p:bldP spid="9" grpId="0" animBg="1"/>
      <p:bldP spid="34" grpId="0" animBg="1"/>
      <p:bldP spid="35" grpId="0" animBg="1"/>
      <p:bldP spid="36" grpId="0" animBg="1"/>
      <p:bldP spid="38" grpId="0" animBg="1"/>
      <p:bldP spid="37" grpId="0"/>
      <p:bldP spid="45" grpId="0"/>
    </p:bldLst>
  </p:timing>
  <p:extLst>
    <p:ext uri="{6950BFC3-D8DA-4A85-94F7-54DA5524770B}">
      <p188:commentRel xmlns:p188="http://schemas.microsoft.com/office/powerpoint/2018/8/main"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6987C-562D-4EC9-8058-DB2FD770AE2B}"/>
              </a:ext>
            </a:extLst>
          </p:cNvPr>
          <p:cNvSpPr>
            <a:spLocks noGrp="1"/>
          </p:cNvSpPr>
          <p:nvPr>
            <p:ph type="title"/>
          </p:nvPr>
        </p:nvSpPr>
        <p:spPr bwMode="gray"/>
        <p:txBody>
          <a:bodyPr/>
          <a:lstStyle/>
          <a:p>
            <a:r>
              <a:rPr lang="es-ES" b="1"/>
              <a:t>¡Gracias!</a:t>
            </a:r>
          </a:p>
        </p:txBody>
      </p:sp>
      <p:sp>
        <p:nvSpPr>
          <p:cNvPr id="3" name="Subtitle 2">
            <a:extLst>
              <a:ext uri="{FF2B5EF4-FFF2-40B4-BE49-F238E27FC236}">
                <a16:creationId xmlns:a16="http://schemas.microsoft.com/office/drawing/2014/main" id="{3EFA05EE-03DC-4787-9C6F-4B34940C98F8}"/>
              </a:ext>
            </a:extLst>
          </p:cNvPr>
          <p:cNvSpPr>
            <a:spLocks noGrp="1"/>
          </p:cNvSpPr>
          <p:nvPr>
            <p:ph type="subTitle" idx="1"/>
          </p:nvPr>
        </p:nvSpPr>
        <p:spPr bwMode="gray">
          <a:xfrm>
            <a:off x="811389" y="5583936"/>
            <a:ext cx="7978659" cy="816864"/>
          </a:xfrm>
        </p:spPr>
        <p:txBody>
          <a:bodyPr anchor="b"/>
          <a:lstStyle/>
          <a:p>
            <a:r>
              <a:rPr lang="es-ES" sz="1600" b="1"/>
              <a:t>CONTACTA CON NOSOTROS</a:t>
            </a:r>
          </a:p>
          <a:p>
            <a:r>
              <a:rPr lang="es-ES" sz="1600"/>
              <a:t>Nombre y Apellido del KAM de Henkel</a:t>
            </a:r>
          </a:p>
          <a:p>
            <a:r>
              <a:rPr lang="es-ES" sz="1600"/>
              <a:t>Título</a:t>
            </a:r>
          </a:p>
          <a:p>
            <a:r>
              <a:rPr lang="es-ES" sz="1600"/>
              <a:t>Email@henkel.com</a:t>
            </a:r>
          </a:p>
          <a:p>
            <a:r>
              <a:rPr lang="es-ES" sz="1600"/>
              <a:t>Teléfono</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6ED28FC-8D0E-4C88-AE9F-C9145592E54B}"/>
              </a:ext>
            </a:extLst>
          </p:cNvPr>
          <p:cNvSpPr/>
          <p:nvPr/>
        </p:nvSpPr>
        <p:spPr bwMode="gray">
          <a:xfrm>
            <a:off x="3068320" y="65043"/>
            <a:ext cx="6075680" cy="6792956"/>
          </a:xfrm>
          <a:prstGeom prst="rect">
            <a:avLst/>
          </a:prstGeom>
          <a:solidFill>
            <a:schemeClr val="tx2"/>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pic>
        <p:nvPicPr>
          <p:cNvPr id="5" name="Picture 4">
            <a:extLst>
              <a:ext uri="{FF2B5EF4-FFF2-40B4-BE49-F238E27FC236}">
                <a16:creationId xmlns:a16="http://schemas.microsoft.com/office/drawing/2014/main" id="{E4264EDB-6309-4989-A8AF-8B063A67A348}"/>
              </a:ext>
            </a:extLst>
          </p:cNvPr>
          <p:cNvPicPr>
            <a:picLocks noChangeAspect="1"/>
          </p:cNvPicPr>
          <p:nvPr/>
        </p:nvPicPr>
        <p:blipFill rotWithShape="1">
          <a:blip r:embed="rId2"/>
          <a:srcRect b="1913"/>
          <a:stretch/>
        </p:blipFill>
        <p:spPr bwMode="gray">
          <a:xfrm>
            <a:off x="4122347" y="-436880"/>
            <a:ext cx="3926069" cy="7294879"/>
          </a:xfrm>
          <a:prstGeom prst="rect">
            <a:avLst/>
          </a:prstGeom>
          <a:ln w="12700">
            <a:miter lim="400000"/>
          </a:ln>
          <a:effectLst>
            <a:outerShdw blurRad="165100" dist="163020" dir="10472014" rotWithShape="0">
              <a:srgbClr val="000000">
                <a:alpha val="13095"/>
              </a:srgbClr>
            </a:outerShdw>
          </a:effectLst>
        </p:spPr>
      </p:pic>
      <p:sp>
        <p:nvSpPr>
          <p:cNvPr id="6" name="Rechteck 5">
            <a:extLst>
              <a:ext uri="{FF2B5EF4-FFF2-40B4-BE49-F238E27FC236}">
                <a16:creationId xmlns:a16="http://schemas.microsoft.com/office/drawing/2014/main" id="{8A1374A4-CF10-4CF5-A5CC-EB9603941D59}"/>
              </a:ext>
            </a:extLst>
          </p:cNvPr>
          <p:cNvSpPr/>
          <p:nvPr/>
        </p:nvSpPr>
        <p:spPr bwMode="gray">
          <a:xfrm>
            <a:off x="5188396" y="1682015"/>
            <a:ext cx="1682033" cy="2564183"/>
          </a:xfrm>
          <a:prstGeom prst="rect">
            <a:avLst/>
          </a:prstGeom>
          <a:solidFill>
            <a:srgbClr val="E1041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pic>
        <p:nvPicPr>
          <p:cNvPr id="14" name="Image" descr="Image">
            <a:extLst>
              <a:ext uri="{FF2B5EF4-FFF2-40B4-BE49-F238E27FC236}">
                <a16:creationId xmlns:a16="http://schemas.microsoft.com/office/drawing/2014/main" id="{3547D77F-1A83-4E06-AFBA-272A05CD8B2B}"/>
              </a:ext>
            </a:extLst>
          </p:cNvPr>
          <p:cNvPicPr>
            <a:picLocks noChangeAspect="1"/>
          </p:cNvPicPr>
          <p:nvPr/>
        </p:nvPicPr>
        <p:blipFill rotWithShape="1">
          <a:blip r:embed="rId3"/>
          <a:srcRect r="25778"/>
          <a:stretch/>
        </p:blipFill>
        <p:spPr bwMode="gray">
          <a:xfrm>
            <a:off x="5217850" y="3837110"/>
            <a:ext cx="1652577" cy="310636"/>
          </a:xfrm>
          <a:prstGeom prst="rect">
            <a:avLst/>
          </a:prstGeom>
          <a:ln w="12700">
            <a:miter lim="400000"/>
          </a:ln>
        </p:spPr>
      </p:pic>
      <p:pic>
        <p:nvPicPr>
          <p:cNvPr id="9" name="Picture 8">
            <a:extLst>
              <a:ext uri="{FF2B5EF4-FFF2-40B4-BE49-F238E27FC236}">
                <a16:creationId xmlns:a16="http://schemas.microsoft.com/office/drawing/2014/main" id="{990CB121-C479-463F-A513-A228E110240D}"/>
              </a:ext>
            </a:extLst>
          </p:cNvPr>
          <p:cNvPicPr>
            <a:picLocks noChangeAspect="1"/>
          </p:cNvPicPr>
          <p:nvPr/>
        </p:nvPicPr>
        <p:blipFill rotWithShape="1">
          <a:blip r:embed="rId4"/>
          <a:srcRect r="23869"/>
          <a:stretch/>
        </p:blipFill>
        <p:spPr bwMode="gray">
          <a:xfrm>
            <a:off x="3773141" y="1008821"/>
            <a:ext cx="3146567" cy="2755392"/>
          </a:xfrm>
          <a:prstGeom prst="rect">
            <a:avLst/>
          </a:prstGeom>
        </p:spPr>
      </p:pic>
    </p:spTree>
    <p:extLst>
      <p:ext uri="{BB962C8B-B14F-4D97-AF65-F5344CB8AC3E}">
        <p14:creationId xmlns:p14="http://schemas.microsoft.com/office/powerpoint/2010/main" val="3260668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9172D83-F67E-4C93-95B1-F748FA55D80D}"/>
              </a:ext>
            </a:extLst>
          </p:cNvPr>
          <p:cNvSpPr>
            <a:spLocks noGrp="1"/>
          </p:cNvSpPr>
          <p:nvPr>
            <p:ph type="ctrTitle"/>
          </p:nvPr>
        </p:nvSpPr>
        <p:spPr bwMode="gray"/>
        <p:txBody>
          <a:bodyPr/>
          <a:lstStyle/>
          <a:p>
            <a:r>
              <a:rPr lang="es-ES"/>
              <a:t>Descargo de responsabilidad</a:t>
            </a:r>
          </a:p>
        </p:txBody>
      </p:sp>
      <p:sp>
        <p:nvSpPr>
          <p:cNvPr id="3" name="Rechteck 3">
            <a:extLst>
              <a:ext uri="{FF2B5EF4-FFF2-40B4-BE49-F238E27FC236}">
                <a16:creationId xmlns:a16="http://schemas.microsoft.com/office/drawing/2014/main" id="{A355A902-6DCE-446D-8E2C-3A9D00152F60}"/>
              </a:ext>
            </a:extLst>
          </p:cNvPr>
          <p:cNvSpPr/>
          <p:nvPr/>
        </p:nvSpPr>
        <p:spPr bwMode="gray">
          <a:xfrm>
            <a:off x="853440" y="2533227"/>
            <a:ext cx="10331027" cy="348657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algn="just" defTabSz="1219170" hangingPunct="0">
              <a:lnSpc>
                <a:spcPct val="107000"/>
              </a:lnSpc>
              <a:spcAft>
                <a:spcPts val="1067"/>
              </a:spcAft>
            </a:pPr>
            <a:r>
              <a:rPr lang="es-ES" sz="1467" kern="0">
                <a:solidFill>
                  <a:srgbClr val="000000"/>
                </a:solidFill>
                <a:latin typeface="Segoe UI Light"/>
                <a:ea typeface="Calibri" panose="020F0502020204030204" pitchFamily="34" charset="0"/>
                <a:cs typeface="Times New Roman" panose="02020603050405020304" pitchFamily="18" charset="0"/>
                <a:sym typeface="Segoe UI"/>
              </a:rPr>
              <a:t>La información mostrada en esta presentación se proporciona solo como ejemplo y se da sin ningún compromiso legal vinculante. Debido a las diferentes posibilidades de trabajo y aplicación, así como a las condiciones de trabajo y aplicación que escapan a nuestro control, la idoneidad de los productos, los datos mostrados y/o las oportunidades potenciales de ahorro y/o retorno de la inversión deben ser evaluados individualmente por cada cliente de Henkel. La idoneidad de nuestro producto y de nuestro servicio, así como cualquier beneficio individual y/o cualquier ahorro potencial de costes, dependen de varios factores que son responsabilidad del cliente, incluyendo, entre otros, la situación individual de la producción, el tipo de activos industriales que se utilizan, cualquier aprobación necesaria de las autoridades reguladoras, etc. No asumimos ninguna responsabilidad por la idoneidad de nuestros productos / nuestro servicio en las condiciones de trabajo específicas, así como los fines de procesamiento previstos y / o (resultados comerciales) y / o beneficios. Para garantizar dicha idoneidad, recomendamos una evaluación individual del entorno de producción, así como suficientes ensayos y pruebas propias en cualquier caso. </a:t>
            </a:r>
            <a:endParaRPr lang="pt-PT" sz="1467" kern="0">
              <a:solidFill>
                <a:srgbClr val="000000"/>
              </a:solidFill>
              <a:latin typeface="Segoe UI Light"/>
              <a:ea typeface="Calibri" panose="020F0502020204030204" pitchFamily="34" charset="0"/>
              <a:cs typeface="Times New Roman" panose="02020603050405020304" pitchFamily="18" charset="0"/>
              <a:sym typeface="Segoe UI"/>
            </a:endParaRPr>
          </a:p>
          <a:p>
            <a:pPr algn="just" defTabSz="1219170" hangingPunct="0">
              <a:lnSpc>
                <a:spcPct val="107000"/>
              </a:lnSpc>
              <a:spcAft>
                <a:spcPts val="1067"/>
              </a:spcAft>
            </a:pPr>
            <a:r>
              <a:rPr lang="es-ES" sz="1467" kern="0">
                <a:solidFill>
                  <a:srgbClr val="000000"/>
                </a:solidFill>
                <a:latin typeface="Segoe UI Light"/>
                <a:ea typeface="Calibri" panose="020F0502020204030204" pitchFamily="34" charset="0"/>
                <a:cs typeface="Times New Roman" panose="02020603050405020304" pitchFamily="18" charset="0"/>
                <a:sym typeface="Segoe UI"/>
              </a:rPr>
              <a:t>Queda expresamente excluida cualquier responsabilidad derivada de las afirmaciones de esta presentación y de cualquier otro asesoramiento escrito o verbal sobre el producto en cuestión, salvo que se haya acordado lo contrario en un contrato individual, en caso de que se produzcan daños a la vida, a la integridad física o a la salud, en caso de dolo o negligencia grave por nuestra parte, o en caso de responsabilidad en virtud de la ley obligatoria de responsabilidad por el producto.</a:t>
            </a:r>
            <a:endParaRPr lang="pt-PT" sz="1467" kern="0">
              <a:solidFill>
                <a:srgbClr val="000000"/>
              </a:solidFill>
              <a:latin typeface="Segoe UI Light"/>
              <a:ea typeface="Calibri" panose="020F0502020204030204" pitchFamily="34" charset="0"/>
              <a:cs typeface="Times New Roman" panose="02020603050405020304" pitchFamily="18" charset="0"/>
              <a:sym typeface="Segoe UI"/>
            </a:endParaRPr>
          </a:p>
        </p:txBody>
      </p:sp>
    </p:spTree>
    <p:extLst>
      <p:ext uri="{BB962C8B-B14F-4D97-AF65-F5344CB8AC3E}">
        <p14:creationId xmlns:p14="http://schemas.microsoft.com/office/powerpoint/2010/main" val="18266124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9">
            <a:extLst>
              <a:ext uri="{FF2B5EF4-FFF2-40B4-BE49-F238E27FC236}">
                <a16:creationId xmlns:a16="http://schemas.microsoft.com/office/drawing/2014/main" id="{F6E730E5-A360-4B98-B3E1-B4F783727A2D}"/>
              </a:ext>
            </a:extLst>
          </p:cNvPr>
          <p:cNvSpPr/>
          <p:nvPr/>
        </p:nvSpPr>
        <p:spPr bwMode="gray">
          <a:xfrm>
            <a:off x="6581933" y="7733"/>
            <a:ext cx="4982464" cy="6847371"/>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algn="ctr" defTabSz="1219170" fontAlgn="base">
              <a:lnSpc>
                <a:spcPct val="105000"/>
              </a:lnSpc>
              <a:spcBef>
                <a:spcPct val="0"/>
              </a:spcBef>
              <a:spcAft>
                <a:spcPct val="0"/>
              </a:spcAft>
              <a:buClr>
                <a:srgbClr val="E1000F"/>
              </a:buClr>
              <a:buSzPct val="120000"/>
              <a:defRPr/>
            </a:pPr>
            <a:r>
              <a:rPr lang="es-ES" sz="8000" b="1" kern="0">
                <a:solidFill>
                  <a:srgbClr val="E1000F"/>
                </a:solidFill>
                <a:latin typeface="Segoe UI"/>
                <a:cs typeface="Segoe UI"/>
                <a:sym typeface="Segoe UI"/>
              </a:rPr>
              <a:t>¿QUIENES SOMOS?</a:t>
            </a:r>
          </a:p>
        </p:txBody>
      </p:sp>
      <p:pic>
        <p:nvPicPr>
          <p:cNvPr id="45" name="Picture 44" descr="A picture containing person, indoor&#10;&#10;Description automatically generated">
            <a:extLst>
              <a:ext uri="{FF2B5EF4-FFF2-40B4-BE49-F238E27FC236}">
                <a16:creationId xmlns:a16="http://schemas.microsoft.com/office/drawing/2014/main" id="{37BAD67B-FFC1-4E33-BE51-3B6554D1C5F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0" y="0"/>
            <a:ext cx="6115176" cy="2267712"/>
          </a:xfrm>
          <a:prstGeom prst="rect">
            <a:avLst/>
          </a:prstGeom>
        </p:spPr>
      </p:pic>
      <p:sp>
        <p:nvSpPr>
          <p:cNvPr id="46" name="Rechteck 33">
            <a:extLst>
              <a:ext uri="{FF2B5EF4-FFF2-40B4-BE49-F238E27FC236}">
                <a16:creationId xmlns:a16="http://schemas.microsoft.com/office/drawing/2014/main" id="{5E96C55E-C01C-4F0D-A783-C78404A8AED0}"/>
              </a:ext>
            </a:extLst>
          </p:cNvPr>
          <p:cNvSpPr/>
          <p:nvPr/>
        </p:nvSpPr>
        <p:spPr bwMode="gray">
          <a:xfrm>
            <a:off x="4351186" y="4405260"/>
            <a:ext cx="1407911" cy="2161741"/>
          </a:xfrm>
          <a:prstGeom prst="rect">
            <a:avLst/>
          </a:prstGeom>
          <a:solidFill>
            <a:srgbClr val="E1000F"/>
          </a:solidFill>
          <a:ln w="9525" cap="flat" cmpd="sng" algn="ctr">
            <a:solidFill>
              <a:srgbClr val="E1000F"/>
            </a:solid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pic>
        <p:nvPicPr>
          <p:cNvPr id="47" name="Picture 17">
            <a:extLst>
              <a:ext uri="{FF2B5EF4-FFF2-40B4-BE49-F238E27FC236}">
                <a16:creationId xmlns:a16="http://schemas.microsoft.com/office/drawing/2014/main" id="{B5967BEF-30E5-433C-B762-9A1E588D8152}"/>
              </a:ext>
            </a:extLst>
          </p:cNvPr>
          <p:cNvPicPr>
            <a:picLocks noChangeAspect="1"/>
          </p:cNvPicPr>
          <p:nvPr/>
        </p:nvPicPr>
        <p:blipFill>
          <a:blip r:embed="rId3" cstate="print">
            <a:duotone>
              <a:srgbClr val="5F6973">
                <a:shade val="45000"/>
                <a:satMod val="135000"/>
              </a:srgbClr>
              <a:prstClr val="white"/>
            </a:duotone>
            <a:extLst>
              <a:ext uri="{28A0092B-C50C-407E-A947-70E740481C1C}">
                <a14:useLocalDpi xmlns:a14="http://schemas.microsoft.com/office/drawing/2010/main"/>
              </a:ext>
            </a:extLst>
          </a:blip>
          <a:stretch>
            <a:fillRect/>
          </a:stretch>
        </p:blipFill>
        <p:spPr bwMode="gray">
          <a:xfrm>
            <a:off x="2995522" y="6118665"/>
            <a:ext cx="628613" cy="502017"/>
          </a:xfrm>
          <a:prstGeom prst="rect">
            <a:avLst/>
          </a:prstGeom>
        </p:spPr>
      </p:pic>
      <p:pic>
        <p:nvPicPr>
          <p:cNvPr id="48" name="Picture 16">
            <a:extLst>
              <a:ext uri="{FF2B5EF4-FFF2-40B4-BE49-F238E27FC236}">
                <a16:creationId xmlns:a16="http://schemas.microsoft.com/office/drawing/2014/main" id="{46E437BD-DE23-45CB-A299-E8AF7E97BD5C}"/>
              </a:ext>
            </a:extLst>
          </p:cNvPr>
          <p:cNvPicPr>
            <a:picLocks noChangeAspect="1"/>
          </p:cNvPicPr>
          <p:nvPr/>
        </p:nvPicPr>
        <p:blipFill rotWithShape="1">
          <a:blip r:embed="rId4" cstate="print">
            <a:duotone>
              <a:srgbClr val="5F6973">
                <a:shade val="45000"/>
                <a:satMod val="135000"/>
              </a:srgbClr>
              <a:prstClr val="white"/>
            </a:duotone>
            <a:extLst>
              <a:ext uri="{28A0092B-C50C-407E-A947-70E740481C1C}">
                <a14:useLocalDpi xmlns:a14="http://schemas.microsoft.com/office/drawing/2010/main"/>
              </a:ext>
            </a:extLst>
          </a:blip>
          <a:srcRect/>
          <a:stretch/>
        </p:blipFill>
        <p:spPr bwMode="gray">
          <a:xfrm>
            <a:off x="2256133" y="6071229"/>
            <a:ext cx="786665" cy="566592"/>
          </a:xfrm>
          <a:prstGeom prst="rect">
            <a:avLst/>
          </a:prstGeom>
        </p:spPr>
      </p:pic>
      <p:pic>
        <p:nvPicPr>
          <p:cNvPr id="49" name="Picture 18">
            <a:extLst>
              <a:ext uri="{FF2B5EF4-FFF2-40B4-BE49-F238E27FC236}">
                <a16:creationId xmlns:a16="http://schemas.microsoft.com/office/drawing/2014/main" id="{27408A91-06D6-42FB-8C48-557C71D97686}"/>
              </a:ext>
            </a:extLst>
          </p:cNvPr>
          <p:cNvPicPr>
            <a:picLocks noChangeAspect="1"/>
          </p:cNvPicPr>
          <p:nvPr/>
        </p:nvPicPr>
        <p:blipFill>
          <a:blip r:embed="rId5" cstate="print">
            <a:duotone>
              <a:srgbClr val="5F6973">
                <a:shade val="45000"/>
                <a:satMod val="135000"/>
              </a:srgbClr>
              <a:prstClr val="white"/>
            </a:duotone>
            <a:extLst>
              <a:ext uri="{28A0092B-C50C-407E-A947-70E740481C1C}">
                <a14:useLocalDpi xmlns:a14="http://schemas.microsoft.com/office/drawing/2010/main"/>
              </a:ext>
            </a:extLst>
          </a:blip>
          <a:stretch>
            <a:fillRect/>
          </a:stretch>
        </p:blipFill>
        <p:spPr bwMode="gray">
          <a:xfrm>
            <a:off x="3616947" y="6277963"/>
            <a:ext cx="680061" cy="260544"/>
          </a:xfrm>
          <a:prstGeom prst="rect">
            <a:avLst/>
          </a:prstGeom>
        </p:spPr>
      </p:pic>
      <p:pic>
        <p:nvPicPr>
          <p:cNvPr id="50" name="Picture 13">
            <a:extLst>
              <a:ext uri="{FF2B5EF4-FFF2-40B4-BE49-F238E27FC236}">
                <a16:creationId xmlns:a16="http://schemas.microsoft.com/office/drawing/2014/main" id="{BFD56915-DB61-4ACB-944F-BAB4E24443C8}"/>
              </a:ext>
            </a:extLst>
          </p:cNvPr>
          <p:cNvPicPr>
            <a:picLocks noChangeAspect="1"/>
          </p:cNvPicPr>
          <p:nvPr/>
        </p:nvPicPr>
        <p:blipFill rotWithShape="1">
          <a:blip r:embed="rId6" cstate="print">
            <a:duotone>
              <a:srgbClr val="5F6973">
                <a:shade val="45000"/>
                <a:satMod val="135000"/>
              </a:srgbClr>
              <a:prstClr val="white"/>
            </a:duotone>
            <a:extLst>
              <a:ext uri="{28A0092B-C50C-407E-A947-70E740481C1C}">
                <a14:useLocalDpi xmlns:a14="http://schemas.microsoft.com/office/drawing/2010/main"/>
              </a:ext>
            </a:extLst>
          </a:blip>
          <a:srcRect/>
          <a:stretch/>
        </p:blipFill>
        <p:spPr bwMode="gray">
          <a:xfrm>
            <a:off x="228901" y="6128281"/>
            <a:ext cx="778632" cy="438720"/>
          </a:xfrm>
          <a:prstGeom prst="rect">
            <a:avLst/>
          </a:prstGeom>
        </p:spPr>
      </p:pic>
      <p:sp>
        <p:nvSpPr>
          <p:cNvPr id="51" name="Rechteck 22">
            <a:extLst>
              <a:ext uri="{FF2B5EF4-FFF2-40B4-BE49-F238E27FC236}">
                <a16:creationId xmlns:a16="http://schemas.microsoft.com/office/drawing/2014/main" id="{8208CF0A-4E89-4AE2-97F1-C7C2DA4F0FC0}"/>
              </a:ext>
            </a:extLst>
          </p:cNvPr>
          <p:cNvSpPr/>
          <p:nvPr/>
        </p:nvSpPr>
        <p:spPr bwMode="gray">
          <a:xfrm>
            <a:off x="196754" y="5003906"/>
            <a:ext cx="2222047" cy="589401"/>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spcBef>
                <a:spcPct val="0"/>
              </a:spcBef>
              <a:spcAft>
                <a:spcPct val="0"/>
              </a:spcAft>
              <a:buClr>
                <a:srgbClr val="E1000F"/>
              </a:buClr>
              <a:buSzPct val="120000"/>
            </a:pPr>
            <a:r>
              <a:rPr lang="es-ES" sz="2133" b="1" kern="0" dirty="0">
                <a:solidFill>
                  <a:srgbClr val="E1000F"/>
                </a:solidFill>
                <a:latin typeface="Segoe UI Light"/>
                <a:cs typeface="Segoe UI"/>
                <a:sym typeface="Segoe UI"/>
              </a:rPr>
              <a:t>6,7 </a:t>
            </a:r>
            <a:r>
              <a:rPr lang="es-ES" sz="1400" kern="0" dirty="0">
                <a:solidFill>
                  <a:srgbClr val="E1000F"/>
                </a:solidFill>
                <a:latin typeface="Segoe UI Light"/>
                <a:cs typeface="Segoe UI"/>
                <a:sym typeface="Segoe UI"/>
              </a:rPr>
              <a:t>MILLARDOS DE EUROS </a:t>
            </a:r>
            <a:br>
              <a:rPr lang="es-ES" sz="1400" kern="0" dirty="0">
                <a:solidFill>
                  <a:srgbClr val="000000"/>
                </a:solidFill>
                <a:latin typeface="Segoe UI Light"/>
                <a:cs typeface="Segoe UI"/>
                <a:sym typeface="Segoe UI"/>
              </a:rPr>
            </a:br>
            <a:r>
              <a:rPr lang="es-ES" sz="1400" kern="0" dirty="0">
                <a:solidFill>
                  <a:srgbClr val="5F6973"/>
                </a:solidFill>
                <a:latin typeface="Segoe UI Light"/>
                <a:cs typeface="Segoe UI"/>
                <a:sym typeface="Segoe UI"/>
              </a:rPr>
              <a:t>VENTAS</a:t>
            </a:r>
          </a:p>
        </p:txBody>
      </p:sp>
      <p:pic>
        <p:nvPicPr>
          <p:cNvPr id="52" name="Grafik 30" descr="Frische Wäsche mit einfarbiger Füllung">
            <a:extLst>
              <a:ext uri="{FF2B5EF4-FFF2-40B4-BE49-F238E27FC236}">
                <a16:creationId xmlns:a16="http://schemas.microsoft.com/office/drawing/2014/main" id="{2687E1AC-9469-4F0B-91B2-63D5C0912B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208401" y="5312519"/>
            <a:ext cx="837591" cy="837591"/>
          </a:xfrm>
          <a:prstGeom prst="rect">
            <a:avLst/>
          </a:prstGeom>
        </p:spPr>
      </p:pic>
      <p:sp>
        <p:nvSpPr>
          <p:cNvPr id="53" name="TextBox 49">
            <a:extLst>
              <a:ext uri="{FF2B5EF4-FFF2-40B4-BE49-F238E27FC236}">
                <a16:creationId xmlns:a16="http://schemas.microsoft.com/office/drawing/2014/main" id="{E9ACC056-8985-4F14-AACB-BC37B8E53587}"/>
              </a:ext>
            </a:extLst>
          </p:cNvPr>
          <p:cNvSpPr txBox="1"/>
          <p:nvPr/>
        </p:nvSpPr>
        <p:spPr bwMode="gray">
          <a:xfrm>
            <a:off x="147563" y="2428297"/>
            <a:ext cx="1776000" cy="933654"/>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VENTAS</a:t>
            </a:r>
          </a:p>
          <a:p>
            <a:pPr defTabSz="1219170" hangingPunct="0"/>
            <a:r>
              <a:rPr lang="es-ES" sz="2667" kern="0">
                <a:solidFill>
                  <a:srgbClr val="E1000F"/>
                </a:solidFill>
                <a:latin typeface="Segoe UI Light" panose="020B0502040204020203" pitchFamily="34" charset="0"/>
                <a:cs typeface="Segoe UI" panose="020B0502040204020203" pitchFamily="34" charset="0"/>
                <a:sym typeface="Segoe UI"/>
              </a:rPr>
              <a:t>19,3</a:t>
            </a:r>
            <a:r>
              <a:rPr lang="es-ES" sz="1400" kern="0">
                <a:solidFill>
                  <a:srgbClr val="E1000F"/>
                </a:solidFill>
                <a:latin typeface="Segoe UI Light" panose="020B0502040204020203" pitchFamily="34" charset="0"/>
                <a:cs typeface="Segoe UI" panose="020B0502040204020203" pitchFamily="34" charset="0"/>
                <a:sym typeface="Segoe UI"/>
              </a:rPr>
              <a:t> </a:t>
            </a:r>
            <a:r>
              <a:rPr lang="es-ES" sz="1400" kern="0">
                <a:solidFill>
                  <a:srgbClr val="E1000F"/>
                </a:solidFill>
                <a:latin typeface="Segoe UI Light" panose="020B0502040204020203" pitchFamily="34" charset="0"/>
                <a:cs typeface="Segoe UI Light" panose="020B0502040204020203" pitchFamily="34" charset="0"/>
                <a:sym typeface="Segoe UI"/>
              </a:rPr>
              <a:t>MILLARDOS DE EUROS</a:t>
            </a:r>
          </a:p>
        </p:txBody>
      </p:sp>
      <p:sp>
        <p:nvSpPr>
          <p:cNvPr id="54" name="TextBox 45">
            <a:extLst>
              <a:ext uri="{FF2B5EF4-FFF2-40B4-BE49-F238E27FC236}">
                <a16:creationId xmlns:a16="http://schemas.microsoft.com/office/drawing/2014/main" id="{FBA9A02F-25C2-4F0A-8E05-BE8BBB8DEB5F}"/>
              </a:ext>
            </a:extLst>
          </p:cNvPr>
          <p:cNvSpPr txBox="1"/>
          <p:nvPr/>
        </p:nvSpPr>
        <p:spPr bwMode="gray">
          <a:xfrm>
            <a:off x="3741106" y="2428296"/>
            <a:ext cx="2437077" cy="718210"/>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EMPLEADOS</a:t>
            </a:r>
            <a:br>
              <a:rPr lang="es-ES" sz="1333" kern="0">
                <a:solidFill>
                  <a:srgbClr val="5F6973"/>
                </a:solidFill>
                <a:latin typeface="Segoe UI Light" panose="020B0502040204020203" pitchFamily="34" charset="0"/>
                <a:cs typeface="Segoe UI Light" panose="020B0502040204020203" pitchFamily="34" charset="0"/>
                <a:sym typeface="Segoe UI"/>
              </a:rPr>
            </a:br>
            <a:r>
              <a:rPr lang="es-ES" sz="2667" kern="0">
                <a:solidFill>
                  <a:srgbClr val="E1000F"/>
                </a:solidFill>
                <a:latin typeface="Segoe UI Light" panose="020B0502040204020203" pitchFamily="34" charset="0"/>
                <a:cs typeface="Segoe UI" panose="020B0502040204020203" pitchFamily="34" charset="0"/>
                <a:sym typeface="Segoe UI"/>
              </a:rPr>
              <a:t>52,950</a:t>
            </a:r>
            <a:r>
              <a:rPr lang="es-ES" sz="1467" kern="0">
                <a:solidFill>
                  <a:srgbClr val="E1000F"/>
                </a:solidFill>
                <a:latin typeface="Segoe UI Light" panose="020B0502040204020203" pitchFamily="34" charset="0"/>
                <a:cs typeface="Segoe UI Light" panose="020B0502040204020203" pitchFamily="34" charset="0"/>
                <a:sym typeface="Segoe UI"/>
              </a:rPr>
              <a:t> </a:t>
            </a:r>
            <a:r>
              <a:rPr lang="es-ES" sz="1400" kern="0">
                <a:solidFill>
                  <a:srgbClr val="E1000F"/>
                </a:solidFill>
                <a:latin typeface="Segoe UI Light" panose="020B0502040204020203" pitchFamily="34" charset="0"/>
                <a:cs typeface="Segoe UI Light" panose="020B0502040204020203" pitchFamily="34" charset="0"/>
                <a:sym typeface="Segoe UI"/>
              </a:rPr>
              <a:t>EXPERTOS</a:t>
            </a:r>
          </a:p>
        </p:txBody>
      </p:sp>
      <p:sp>
        <p:nvSpPr>
          <p:cNvPr id="55" name="TextBox 46">
            <a:extLst>
              <a:ext uri="{FF2B5EF4-FFF2-40B4-BE49-F238E27FC236}">
                <a16:creationId xmlns:a16="http://schemas.microsoft.com/office/drawing/2014/main" id="{6C782913-3356-4FB1-818F-043AAC19AA05}"/>
              </a:ext>
            </a:extLst>
          </p:cNvPr>
          <p:cNvSpPr txBox="1"/>
          <p:nvPr/>
        </p:nvSpPr>
        <p:spPr bwMode="gray">
          <a:xfrm>
            <a:off x="2065269" y="2380417"/>
            <a:ext cx="1399164" cy="718210"/>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EXPERIENCIA</a:t>
            </a:r>
          </a:p>
          <a:p>
            <a:pPr defTabSz="1219170" hangingPunct="0"/>
            <a:r>
              <a:rPr lang="es-ES" sz="2667" kern="0">
                <a:solidFill>
                  <a:srgbClr val="E1000F"/>
                </a:solidFill>
                <a:latin typeface="Segoe UI Light" panose="020B0502040204020203" pitchFamily="34" charset="0"/>
                <a:cs typeface="Segoe UI" panose="020B0502040204020203" pitchFamily="34" charset="0"/>
                <a:sym typeface="Segoe UI"/>
              </a:rPr>
              <a:t>144</a:t>
            </a:r>
            <a:r>
              <a:rPr lang="es-ES" sz="1467" kern="0">
                <a:solidFill>
                  <a:srgbClr val="E1000F"/>
                </a:solidFill>
                <a:latin typeface="Segoe UI Light" panose="020B0502040204020203" pitchFamily="34" charset="0"/>
                <a:cs typeface="Segoe UI Light" panose="020B0502040204020203" pitchFamily="34" charset="0"/>
                <a:sym typeface="Segoe UI"/>
              </a:rPr>
              <a:t> </a:t>
            </a:r>
            <a:r>
              <a:rPr lang="es-ES" sz="1400" kern="0">
                <a:solidFill>
                  <a:srgbClr val="E1000F"/>
                </a:solidFill>
                <a:latin typeface="Segoe UI Light" panose="020B0502040204020203" pitchFamily="34" charset="0"/>
                <a:cs typeface="Segoe UI Light" panose="020B0502040204020203" pitchFamily="34" charset="0"/>
                <a:sym typeface="Segoe UI"/>
              </a:rPr>
              <a:t>AÑOS</a:t>
            </a:r>
          </a:p>
        </p:txBody>
      </p:sp>
      <p:pic>
        <p:nvPicPr>
          <p:cNvPr id="56" name="Picture 10">
            <a:extLst>
              <a:ext uri="{FF2B5EF4-FFF2-40B4-BE49-F238E27FC236}">
                <a16:creationId xmlns:a16="http://schemas.microsoft.com/office/drawing/2014/main" id="{7F87CD35-B6C8-41FC-8B9B-EEA7AD312B3B}"/>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1756551" y="533074"/>
            <a:ext cx="2582899" cy="1449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Grafik 32" descr="Desinfektionsmittel mit einfarbiger Füllung">
            <a:extLst>
              <a:ext uri="{FF2B5EF4-FFF2-40B4-BE49-F238E27FC236}">
                <a16:creationId xmlns:a16="http://schemas.microsoft.com/office/drawing/2014/main" id="{1E41EB60-CFB4-43FC-B901-1D559279CA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bwMode="gray">
          <a:xfrm>
            <a:off x="3165886" y="5122282"/>
            <a:ext cx="875349" cy="875349"/>
          </a:xfrm>
          <a:prstGeom prst="rect">
            <a:avLst/>
          </a:prstGeom>
        </p:spPr>
      </p:pic>
      <p:pic>
        <p:nvPicPr>
          <p:cNvPr id="58" name="Grafik 26" descr="Kleber mit einfarbiger Füllung">
            <a:extLst>
              <a:ext uri="{FF2B5EF4-FFF2-40B4-BE49-F238E27FC236}">
                <a16:creationId xmlns:a16="http://schemas.microsoft.com/office/drawing/2014/main" id="{4A5BE8E8-3DBE-4965-B42C-0601556F12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4476600" y="5022570"/>
            <a:ext cx="1160273" cy="1160273"/>
          </a:xfrm>
          <a:prstGeom prst="rect">
            <a:avLst/>
          </a:prstGeom>
        </p:spPr>
      </p:pic>
      <p:sp>
        <p:nvSpPr>
          <p:cNvPr id="59" name="Rechteck 1">
            <a:extLst>
              <a:ext uri="{FF2B5EF4-FFF2-40B4-BE49-F238E27FC236}">
                <a16:creationId xmlns:a16="http://schemas.microsoft.com/office/drawing/2014/main" id="{650F9042-3EAA-4AF6-9285-435EA5539E4C}"/>
              </a:ext>
            </a:extLst>
          </p:cNvPr>
          <p:cNvSpPr/>
          <p:nvPr/>
        </p:nvSpPr>
        <p:spPr bwMode="gray">
          <a:xfrm>
            <a:off x="242149" y="4405261"/>
            <a:ext cx="1957027" cy="2171031"/>
          </a:xfrm>
          <a:prstGeom prst="rect">
            <a:avLst/>
          </a:prstGeom>
          <a:noFill/>
          <a:ln w="9525" cap="flat" cmpd="sng" algn="ctr">
            <a:solidFill>
              <a:srgbClr val="AFB4B9"/>
            </a:solid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sp>
        <p:nvSpPr>
          <p:cNvPr id="60" name="Rechteck 31">
            <a:extLst>
              <a:ext uri="{FF2B5EF4-FFF2-40B4-BE49-F238E27FC236}">
                <a16:creationId xmlns:a16="http://schemas.microsoft.com/office/drawing/2014/main" id="{D05DD179-5130-448B-9DCB-4384FE7C8446}"/>
              </a:ext>
            </a:extLst>
          </p:cNvPr>
          <p:cNvSpPr/>
          <p:nvPr/>
        </p:nvSpPr>
        <p:spPr bwMode="gray">
          <a:xfrm>
            <a:off x="2289853" y="4405261"/>
            <a:ext cx="1957027" cy="2171031"/>
          </a:xfrm>
          <a:prstGeom prst="rect">
            <a:avLst/>
          </a:prstGeom>
          <a:noFill/>
          <a:ln w="9525" cap="flat" cmpd="sng" algn="ctr">
            <a:solidFill>
              <a:srgbClr val="AFB4B9"/>
            </a:solid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pic>
        <p:nvPicPr>
          <p:cNvPr id="61" name="Picture 13">
            <a:extLst>
              <a:ext uri="{FF2B5EF4-FFF2-40B4-BE49-F238E27FC236}">
                <a16:creationId xmlns:a16="http://schemas.microsoft.com/office/drawing/2014/main" id="{E6708449-4BF9-401E-8B60-2FE4A0EF1606}"/>
              </a:ext>
            </a:extLst>
          </p:cNvPr>
          <p:cNvPicPr>
            <a:picLocks noChangeAspect="1"/>
          </p:cNvPicPr>
          <p:nvPr/>
        </p:nvPicPr>
        <p:blipFill rotWithShape="1">
          <a:blip r:embed="rId14" cstate="print">
            <a:duotone>
              <a:srgbClr val="5F6973">
                <a:shade val="45000"/>
                <a:satMod val="135000"/>
              </a:srgbClr>
              <a:prstClr val="white"/>
            </a:duotone>
            <a:extLst>
              <a:ext uri="{28A0092B-C50C-407E-A947-70E740481C1C}">
                <a14:useLocalDpi xmlns:a14="http://schemas.microsoft.com/office/drawing/2010/main"/>
              </a:ext>
            </a:extLst>
          </a:blip>
          <a:srcRect/>
          <a:stretch/>
        </p:blipFill>
        <p:spPr bwMode="gray">
          <a:xfrm>
            <a:off x="986791" y="6169836"/>
            <a:ext cx="496715" cy="408547"/>
          </a:xfrm>
          <a:prstGeom prst="rect">
            <a:avLst/>
          </a:prstGeom>
        </p:spPr>
      </p:pic>
      <p:pic>
        <p:nvPicPr>
          <p:cNvPr id="62" name="Picture 13">
            <a:extLst>
              <a:ext uri="{FF2B5EF4-FFF2-40B4-BE49-F238E27FC236}">
                <a16:creationId xmlns:a16="http://schemas.microsoft.com/office/drawing/2014/main" id="{22C015EA-048C-4203-B995-44A9CE02F0A1}"/>
              </a:ext>
            </a:extLst>
          </p:cNvPr>
          <p:cNvPicPr>
            <a:picLocks noChangeAspect="1"/>
          </p:cNvPicPr>
          <p:nvPr/>
        </p:nvPicPr>
        <p:blipFill rotWithShape="1">
          <a:blip r:embed="rId15" cstate="print">
            <a:duotone>
              <a:srgbClr val="5F6973">
                <a:shade val="45000"/>
                <a:satMod val="135000"/>
              </a:srgbClr>
              <a:prstClr val="white"/>
            </a:duotone>
            <a:extLst>
              <a:ext uri="{28A0092B-C50C-407E-A947-70E740481C1C}">
                <a14:useLocalDpi xmlns:a14="http://schemas.microsoft.com/office/drawing/2010/main"/>
              </a:ext>
            </a:extLst>
          </a:blip>
          <a:srcRect/>
          <a:stretch/>
        </p:blipFill>
        <p:spPr bwMode="gray">
          <a:xfrm>
            <a:off x="1504713" y="6218826"/>
            <a:ext cx="597737" cy="289949"/>
          </a:xfrm>
          <a:prstGeom prst="rect">
            <a:avLst/>
          </a:prstGeom>
        </p:spPr>
      </p:pic>
      <p:sp>
        <p:nvSpPr>
          <p:cNvPr id="63" name="Rechteck 43">
            <a:extLst>
              <a:ext uri="{FF2B5EF4-FFF2-40B4-BE49-F238E27FC236}">
                <a16:creationId xmlns:a16="http://schemas.microsoft.com/office/drawing/2014/main" id="{097F55DA-53F4-4DCF-8E15-3FCC96476F4E}"/>
              </a:ext>
            </a:extLst>
          </p:cNvPr>
          <p:cNvSpPr/>
          <p:nvPr/>
        </p:nvSpPr>
        <p:spPr bwMode="gray">
          <a:xfrm>
            <a:off x="242149" y="4434250"/>
            <a:ext cx="2074763" cy="281053"/>
          </a:xfrm>
          <a:prstGeom prst="rect">
            <a:avLst/>
          </a:prstGeom>
          <a:noFill/>
          <a:ln w="9525" cap="flat" cmpd="sng" algn="ctr">
            <a:noFill/>
            <a:prstDash val="solid"/>
            <a:round/>
            <a:headEnd type="none" w="med" len="med"/>
            <a:tailEnd type="none" w="med" len="med"/>
          </a:ln>
          <a:effectLst/>
        </p:spPr>
        <p:txBody>
          <a:bodyPr vert="horz" wrap="none" lIns="120000" tIns="62400" rIns="120000" bIns="62400" numCol="1" rtlCol="0" anchor="t" anchorCtr="0" compatLnSpc="1">
            <a:prstTxWarp prst="textNoShape">
              <a:avLst/>
            </a:prstTxWarp>
          </a:bodyPr>
          <a:lstStyle/>
          <a:p>
            <a:pPr defTabSz="1219170" fontAlgn="base">
              <a:spcBef>
                <a:spcPct val="0"/>
              </a:spcBef>
              <a:spcAft>
                <a:spcPct val="0"/>
              </a:spcAft>
              <a:buClr>
                <a:srgbClr val="E1000F"/>
              </a:buClr>
              <a:buSzPct val="120000"/>
            </a:pPr>
            <a:r>
              <a:rPr lang="es-ES" sz="1400" kern="0">
                <a:solidFill>
                  <a:srgbClr val="5F6973"/>
                </a:solidFill>
                <a:latin typeface="Segoe UI Light"/>
                <a:cs typeface="Segoe UI"/>
                <a:sym typeface="Segoe UI"/>
              </a:rPr>
              <a:t>DETERGENGES Y</a:t>
            </a:r>
            <a:br>
              <a:rPr lang="es-ES" sz="1400" kern="0">
                <a:solidFill>
                  <a:srgbClr val="5F6973"/>
                </a:solidFill>
                <a:latin typeface="Segoe UI Light"/>
                <a:cs typeface="Segoe UI"/>
                <a:sym typeface="Segoe UI"/>
              </a:rPr>
            </a:br>
            <a:r>
              <a:rPr lang="es-ES" sz="1400" kern="0">
                <a:solidFill>
                  <a:srgbClr val="5F6973"/>
                </a:solidFill>
                <a:latin typeface="Segoe UI Light"/>
                <a:cs typeface="Segoe UI"/>
                <a:sym typeface="Segoe UI"/>
              </a:rPr>
              <a:t>CUIDADO DEL HOGAR</a:t>
            </a:r>
          </a:p>
        </p:txBody>
      </p:sp>
      <p:sp>
        <p:nvSpPr>
          <p:cNvPr id="64" name="TextBox 49">
            <a:extLst>
              <a:ext uri="{FF2B5EF4-FFF2-40B4-BE49-F238E27FC236}">
                <a16:creationId xmlns:a16="http://schemas.microsoft.com/office/drawing/2014/main" id="{2ADD96B2-E5D6-4720-A41A-0F6D56081F90}"/>
              </a:ext>
            </a:extLst>
          </p:cNvPr>
          <p:cNvSpPr txBox="1"/>
          <p:nvPr/>
        </p:nvSpPr>
        <p:spPr bwMode="gray">
          <a:xfrm>
            <a:off x="147563" y="3354228"/>
            <a:ext cx="1776000" cy="933654"/>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BAII</a:t>
            </a:r>
          </a:p>
          <a:p>
            <a:pPr defTabSz="1219170" hangingPunct="0"/>
            <a:r>
              <a:rPr lang="es-ES" sz="2667" kern="0">
                <a:solidFill>
                  <a:srgbClr val="E1000F"/>
                </a:solidFill>
                <a:latin typeface="Segoe UI Light" panose="020B0502040204020203" pitchFamily="34" charset="0"/>
                <a:cs typeface="Segoe UI" panose="020B0502040204020203" pitchFamily="34" charset="0"/>
                <a:sym typeface="Segoe UI"/>
              </a:rPr>
              <a:t>2,6 </a:t>
            </a:r>
            <a:r>
              <a:rPr lang="es-ES" sz="1400" kern="0">
                <a:solidFill>
                  <a:srgbClr val="E1000F"/>
                </a:solidFill>
                <a:latin typeface="Segoe UI Light" panose="020B0502040204020203" pitchFamily="34" charset="0"/>
                <a:cs typeface="Segoe UI Light" panose="020B0502040204020203" pitchFamily="34" charset="0"/>
                <a:sym typeface="Segoe UI"/>
              </a:rPr>
              <a:t>MILLARDOS DE EUROS</a:t>
            </a:r>
          </a:p>
        </p:txBody>
      </p:sp>
      <p:sp>
        <p:nvSpPr>
          <p:cNvPr id="65" name="TextBox 45">
            <a:extLst>
              <a:ext uri="{FF2B5EF4-FFF2-40B4-BE49-F238E27FC236}">
                <a16:creationId xmlns:a16="http://schemas.microsoft.com/office/drawing/2014/main" id="{B25CCDAF-AEF9-47D2-94BA-E28597878A1C}"/>
              </a:ext>
            </a:extLst>
          </p:cNvPr>
          <p:cNvSpPr txBox="1"/>
          <p:nvPr/>
        </p:nvSpPr>
        <p:spPr bwMode="gray">
          <a:xfrm>
            <a:off x="3741106" y="3429000"/>
            <a:ext cx="2437077" cy="718210"/>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FABRICANDO EN</a:t>
            </a:r>
          </a:p>
          <a:p>
            <a:pPr defTabSz="1219170" hangingPunct="0"/>
            <a:r>
              <a:rPr lang="es-ES" sz="2667" kern="0">
                <a:solidFill>
                  <a:srgbClr val="E1000F"/>
                </a:solidFill>
                <a:latin typeface="Segoe UI"/>
                <a:cs typeface="Segoe UI" panose="020B0502040204020203" pitchFamily="34" charset="0"/>
                <a:sym typeface="Segoe UI"/>
              </a:rPr>
              <a:t>184</a:t>
            </a:r>
            <a:r>
              <a:rPr lang="es-ES" sz="1400" kern="0">
                <a:solidFill>
                  <a:srgbClr val="E1000F"/>
                </a:solidFill>
                <a:latin typeface="Segoe UI"/>
                <a:cs typeface="Segoe UI" panose="020B0502040204020203" pitchFamily="34" charset="0"/>
                <a:sym typeface="Segoe UI"/>
              </a:rPr>
              <a:t> FÁBRICAS</a:t>
            </a:r>
          </a:p>
        </p:txBody>
      </p:sp>
      <p:sp>
        <p:nvSpPr>
          <p:cNvPr id="66" name="TextBox 46">
            <a:extLst>
              <a:ext uri="{FF2B5EF4-FFF2-40B4-BE49-F238E27FC236}">
                <a16:creationId xmlns:a16="http://schemas.microsoft.com/office/drawing/2014/main" id="{7D40F4EB-99D0-4341-B44B-D293C63F87E6}"/>
              </a:ext>
            </a:extLst>
          </p:cNvPr>
          <p:cNvSpPr txBox="1"/>
          <p:nvPr/>
        </p:nvSpPr>
        <p:spPr bwMode="gray">
          <a:xfrm>
            <a:off x="2043078" y="3351212"/>
            <a:ext cx="1326372" cy="718210"/>
          </a:xfrm>
          <a:prstGeom prst="rect">
            <a:avLst/>
          </a:prstGeom>
          <a:noFill/>
        </p:spPr>
        <p:txBody>
          <a:bodyPr wrap="square" rtlCol="0">
            <a:spAutoFit/>
          </a:bodyPr>
          <a:lstStyle/>
          <a:p>
            <a:pPr defTabSz="1219170" hangingPunct="0"/>
            <a:r>
              <a:rPr lang="es-ES" sz="1400" kern="0">
                <a:solidFill>
                  <a:srgbClr val="5F6973"/>
                </a:solidFill>
                <a:latin typeface="Segoe UI Light" panose="020B0502040204020203" pitchFamily="34" charset="0"/>
                <a:cs typeface="Segoe UI Light" panose="020B0502040204020203" pitchFamily="34" charset="0"/>
                <a:sym typeface="Segoe UI"/>
              </a:rPr>
              <a:t>ACTIVA EN</a:t>
            </a:r>
          </a:p>
          <a:p>
            <a:pPr defTabSz="1219170" hangingPunct="0"/>
            <a:r>
              <a:rPr lang="es-ES" sz="2667" kern="0">
                <a:solidFill>
                  <a:srgbClr val="E1000F"/>
                </a:solidFill>
                <a:latin typeface="Segoe UI Light" panose="020B0502040204020203" pitchFamily="34" charset="0"/>
                <a:cs typeface="Segoe UI" panose="020B0502040204020203" pitchFamily="34" charset="0"/>
                <a:sym typeface="Segoe UI"/>
              </a:rPr>
              <a:t>150</a:t>
            </a:r>
            <a:r>
              <a:rPr lang="es-ES" sz="1467" kern="0">
                <a:solidFill>
                  <a:srgbClr val="E1000F"/>
                </a:solidFill>
                <a:latin typeface="Segoe UI Light" panose="020B0502040204020203" pitchFamily="34" charset="0"/>
                <a:cs typeface="Segoe UI Light" panose="020B0502040204020203" pitchFamily="34" charset="0"/>
                <a:sym typeface="Segoe UI"/>
              </a:rPr>
              <a:t> </a:t>
            </a:r>
            <a:r>
              <a:rPr lang="es-ES" sz="1400" kern="0">
                <a:solidFill>
                  <a:srgbClr val="E1000F"/>
                </a:solidFill>
                <a:latin typeface="Segoe UI Light" panose="020B0502040204020203" pitchFamily="34" charset="0"/>
                <a:cs typeface="Segoe UI Light" panose="020B0502040204020203" pitchFamily="34" charset="0"/>
                <a:sym typeface="Segoe UI"/>
              </a:rPr>
              <a:t>PAÍSES</a:t>
            </a:r>
          </a:p>
        </p:txBody>
      </p:sp>
      <p:sp>
        <p:nvSpPr>
          <p:cNvPr id="67" name="Rechteck 56">
            <a:extLst>
              <a:ext uri="{FF2B5EF4-FFF2-40B4-BE49-F238E27FC236}">
                <a16:creationId xmlns:a16="http://schemas.microsoft.com/office/drawing/2014/main" id="{A84F33C6-BC71-4997-89E5-4C3E19FFBB75}"/>
              </a:ext>
            </a:extLst>
          </p:cNvPr>
          <p:cNvSpPr/>
          <p:nvPr/>
        </p:nvSpPr>
        <p:spPr bwMode="gray">
          <a:xfrm>
            <a:off x="2284765" y="4434250"/>
            <a:ext cx="2068944" cy="281053"/>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spcBef>
                <a:spcPct val="0"/>
              </a:spcBef>
              <a:spcAft>
                <a:spcPct val="0"/>
              </a:spcAft>
              <a:buClr>
                <a:srgbClr val="E1000F"/>
              </a:buClr>
              <a:buSzPct val="120000"/>
            </a:pPr>
            <a:r>
              <a:rPr lang="es-ES" sz="1400" kern="0">
                <a:solidFill>
                  <a:srgbClr val="5F6973"/>
                </a:solidFill>
                <a:latin typeface="Segoe UI Light"/>
                <a:cs typeface="Segoe UI"/>
                <a:sym typeface="Segoe UI"/>
              </a:rPr>
              <a:t>COSMÉTICA</a:t>
            </a:r>
          </a:p>
        </p:txBody>
      </p:sp>
      <p:sp>
        <p:nvSpPr>
          <p:cNvPr id="68" name="Rechteck 57">
            <a:extLst>
              <a:ext uri="{FF2B5EF4-FFF2-40B4-BE49-F238E27FC236}">
                <a16:creationId xmlns:a16="http://schemas.microsoft.com/office/drawing/2014/main" id="{CC0BC976-E9C4-444A-96EF-C7427416DD41}"/>
              </a:ext>
            </a:extLst>
          </p:cNvPr>
          <p:cNvSpPr/>
          <p:nvPr/>
        </p:nvSpPr>
        <p:spPr bwMode="gray">
          <a:xfrm>
            <a:off x="2303767" y="4827582"/>
            <a:ext cx="2222047" cy="589401"/>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defTabSz="1219170" fontAlgn="base">
              <a:spcBef>
                <a:spcPct val="0"/>
              </a:spcBef>
              <a:spcAft>
                <a:spcPct val="0"/>
              </a:spcAft>
              <a:buClr>
                <a:srgbClr val="E1000F"/>
              </a:buClr>
              <a:buSzPct val="120000"/>
            </a:pPr>
            <a:r>
              <a:rPr lang="es-ES" sz="2133" b="1" kern="0" dirty="0">
                <a:solidFill>
                  <a:srgbClr val="E1000F"/>
                </a:solidFill>
                <a:latin typeface="Segoe UI Light"/>
                <a:cs typeface="Segoe UI"/>
                <a:sym typeface="Segoe UI"/>
              </a:rPr>
              <a:t>3,7 </a:t>
            </a:r>
            <a:r>
              <a:rPr lang="es-ES" sz="1400" kern="0" dirty="0">
                <a:solidFill>
                  <a:srgbClr val="E1000F"/>
                </a:solidFill>
                <a:latin typeface="Segoe UI Light"/>
                <a:cs typeface="Segoe UI"/>
                <a:sym typeface="Segoe UI"/>
              </a:rPr>
              <a:t>MILLARDOS DE EUROS </a:t>
            </a:r>
            <a:br>
              <a:rPr lang="es-ES" sz="1400" kern="0" dirty="0">
                <a:solidFill>
                  <a:srgbClr val="000000"/>
                </a:solidFill>
                <a:latin typeface="Segoe UI Light"/>
                <a:cs typeface="Segoe UI"/>
                <a:sym typeface="Segoe UI"/>
              </a:rPr>
            </a:br>
            <a:r>
              <a:rPr lang="es-ES" sz="1400" kern="0" dirty="0">
                <a:solidFill>
                  <a:srgbClr val="5F6973"/>
                </a:solidFill>
                <a:latin typeface="Segoe UI Light"/>
                <a:cs typeface="Segoe UI"/>
                <a:sym typeface="Segoe UI"/>
              </a:rPr>
              <a:t>VENTAS</a:t>
            </a:r>
          </a:p>
        </p:txBody>
      </p:sp>
      <p:sp>
        <p:nvSpPr>
          <p:cNvPr id="69" name="Rechteck 66">
            <a:extLst>
              <a:ext uri="{FF2B5EF4-FFF2-40B4-BE49-F238E27FC236}">
                <a16:creationId xmlns:a16="http://schemas.microsoft.com/office/drawing/2014/main" id="{CA742280-961E-41AA-80F7-DDF8F5236A6A}"/>
              </a:ext>
            </a:extLst>
          </p:cNvPr>
          <p:cNvSpPr/>
          <p:nvPr/>
        </p:nvSpPr>
        <p:spPr bwMode="gray">
          <a:xfrm>
            <a:off x="4353709" y="4434250"/>
            <a:ext cx="2068944" cy="281053"/>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spcBef>
                <a:spcPct val="0"/>
              </a:spcBef>
              <a:spcAft>
                <a:spcPct val="0"/>
              </a:spcAft>
              <a:buClr>
                <a:srgbClr val="E1000F"/>
              </a:buClr>
              <a:buSzPct val="120000"/>
            </a:pPr>
            <a:r>
              <a:rPr lang="es-ES" sz="1400" kern="0">
                <a:solidFill>
                  <a:srgbClr val="FFFFFF"/>
                </a:solidFill>
                <a:latin typeface="Segoe UI Light"/>
                <a:cs typeface="Segoe UI"/>
                <a:sym typeface="Segoe UI"/>
              </a:rPr>
              <a:t>TECNOLOGÍAS</a:t>
            </a:r>
            <a:br>
              <a:rPr lang="es-ES" sz="1400" kern="0">
                <a:solidFill>
                  <a:srgbClr val="FFFFFF"/>
                </a:solidFill>
                <a:latin typeface="Segoe UI Light"/>
                <a:cs typeface="Segoe UI"/>
                <a:sym typeface="Segoe UI"/>
              </a:rPr>
            </a:br>
            <a:r>
              <a:rPr lang="es-ES" sz="1400" kern="0">
                <a:solidFill>
                  <a:srgbClr val="FFFFFF"/>
                </a:solidFill>
                <a:latin typeface="Segoe UI Light"/>
                <a:cs typeface="Segoe UI"/>
                <a:sym typeface="Segoe UI"/>
              </a:rPr>
              <a:t>DE ADHESIÓN</a:t>
            </a:r>
          </a:p>
        </p:txBody>
      </p:sp>
      <p:grpSp>
        <p:nvGrpSpPr>
          <p:cNvPr id="70" name="Group 69">
            <a:extLst>
              <a:ext uri="{FF2B5EF4-FFF2-40B4-BE49-F238E27FC236}">
                <a16:creationId xmlns:a16="http://schemas.microsoft.com/office/drawing/2014/main" id="{8B975436-050F-45EB-9EC9-AEA0F4782207}"/>
              </a:ext>
            </a:extLst>
          </p:cNvPr>
          <p:cNvGrpSpPr/>
          <p:nvPr/>
        </p:nvGrpSpPr>
        <p:grpSpPr bwMode="gray">
          <a:xfrm>
            <a:off x="5759346" y="0"/>
            <a:ext cx="6465889" cy="7008600"/>
            <a:chOff x="4319509" y="0"/>
            <a:chExt cx="4849417" cy="5256450"/>
          </a:xfrm>
        </p:grpSpPr>
        <p:sp>
          <p:nvSpPr>
            <p:cNvPr id="71" name="Rechteck 17">
              <a:extLst>
                <a:ext uri="{FF2B5EF4-FFF2-40B4-BE49-F238E27FC236}">
                  <a16:creationId xmlns:a16="http://schemas.microsoft.com/office/drawing/2014/main" id="{9771A9DA-B808-4BCA-95F8-A2EF9EE5C6AE}"/>
                </a:ext>
              </a:extLst>
            </p:cNvPr>
            <p:cNvSpPr/>
            <p:nvPr/>
          </p:nvSpPr>
          <p:spPr bwMode="gray">
            <a:xfrm>
              <a:off x="4592104" y="0"/>
              <a:ext cx="4575970" cy="5143500"/>
            </a:xfrm>
            <a:prstGeom prst="rect">
              <a:avLst/>
            </a:prstGeom>
            <a:solidFill>
              <a:srgbClr val="E1000F"/>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sp>
          <p:nvSpPr>
            <p:cNvPr id="72" name="Rechteck 7">
              <a:extLst>
                <a:ext uri="{FF2B5EF4-FFF2-40B4-BE49-F238E27FC236}">
                  <a16:creationId xmlns:a16="http://schemas.microsoft.com/office/drawing/2014/main" id="{249A3D2A-F7B6-44E3-9A9B-E11CE1C6C177}"/>
                </a:ext>
              </a:extLst>
            </p:cNvPr>
            <p:cNvSpPr/>
            <p:nvPr/>
          </p:nvSpPr>
          <p:spPr bwMode="gray">
            <a:xfrm>
              <a:off x="4754478" y="4023359"/>
              <a:ext cx="4265061" cy="1040943"/>
            </a:xfrm>
            <a:prstGeom prst="rect">
              <a:avLst/>
            </a:prstGeom>
            <a:solidFill>
              <a:srgbClr val="E1000F">
                <a:lumMod val="60000"/>
                <a:lumOff val="40000"/>
              </a:srgbClr>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sp>
          <p:nvSpPr>
            <p:cNvPr id="73" name="Trapezoid 2">
              <a:extLst>
                <a:ext uri="{FF2B5EF4-FFF2-40B4-BE49-F238E27FC236}">
                  <a16:creationId xmlns:a16="http://schemas.microsoft.com/office/drawing/2014/main" id="{6F4B1FEA-54D8-47D9-9685-35BD2D2978C7}"/>
                </a:ext>
              </a:extLst>
            </p:cNvPr>
            <p:cNvSpPr/>
            <p:nvPr/>
          </p:nvSpPr>
          <p:spPr bwMode="gray">
            <a:xfrm rot="16200000">
              <a:off x="1888134" y="2437175"/>
              <a:ext cx="5135528" cy="272777"/>
            </a:xfrm>
            <a:custGeom>
              <a:avLst/>
              <a:gdLst>
                <a:gd name="connsiteX0" fmla="*/ 0 w 5135528"/>
                <a:gd name="connsiteY0" fmla="*/ 244890 h 244890"/>
                <a:gd name="connsiteX1" fmla="*/ 630957 w 5135528"/>
                <a:gd name="connsiteY1" fmla="*/ 0 h 244890"/>
                <a:gd name="connsiteX2" fmla="*/ 4504571 w 5135528"/>
                <a:gd name="connsiteY2" fmla="*/ 0 h 244890"/>
                <a:gd name="connsiteX3" fmla="*/ 5135528 w 5135528"/>
                <a:gd name="connsiteY3" fmla="*/ 244890 h 244890"/>
                <a:gd name="connsiteX4" fmla="*/ 0 w 5135528"/>
                <a:gd name="connsiteY4" fmla="*/ 244890 h 244890"/>
                <a:gd name="connsiteX0" fmla="*/ 0 w 5135528"/>
                <a:gd name="connsiteY0" fmla="*/ 244890 h 244890"/>
                <a:gd name="connsiteX1" fmla="*/ 630957 w 5135528"/>
                <a:gd name="connsiteY1" fmla="*/ 0 h 244890"/>
                <a:gd name="connsiteX2" fmla="*/ 2096651 w 5135528"/>
                <a:gd name="connsiteY2" fmla="*/ 7620 h 244890"/>
                <a:gd name="connsiteX3" fmla="*/ 5135528 w 5135528"/>
                <a:gd name="connsiteY3" fmla="*/ 244890 h 244890"/>
                <a:gd name="connsiteX4" fmla="*/ 0 w 5135528"/>
                <a:gd name="connsiteY4" fmla="*/ 244890 h 244890"/>
                <a:gd name="connsiteX0" fmla="*/ 0 w 5135528"/>
                <a:gd name="connsiteY0" fmla="*/ 244888 h 244888"/>
                <a:gd name="connsiteX1" fmla="*/ 376957 w 5135528"/>
                <a:gd name="connsiteY1" fmla="*/ 0 h 244888"/>
                <a:gd name="connsiteX2" fmla="*/ 2096651 w 5135528"/>
                <a:gd name="connsiteY2" fmla="*/ 7618 h 244888"/>
                <a:gd name="connsiteX3" fmla="*/ 5135528 w 5135528"/>
                <a:gd name="connsiteY3" fmla="*/ 244888 h 244888"/>
                <a:gd name="connsiteX4" fmla="*/ 0 w 5135528"/>
                <a:gd name="connsiteY4" fmla="*/ 244888 h 244888"/>
                <a:gd name="connsiteX0" fmla="*/ 0 w 5135528"/>
                <a:gd name="connsiteY0" fmla="*/ 244888 h 244888"/>
                <a:gd name="connsiteX1" fmla="*/ 376957 w 5135528"/>
                <a:gd name="connsiteY1" fmla="*/ 0 h 244888"/>
                <a:gd name="connsiteX2" fmla="*/ 1837571 w 5135528"/>
                <a:gd name="connsiteY2" fmla="*/ 3060 h 244888"/>
                <a:gd name="connsiteX3" fmla="*/ 5135528 w 5135528"/>
                <a:gd name="connsiteY3" fmla="*/ 244888 h 244888"/>
                <a:gd name="connsiteX4" fmla="*/ 0 w 5135528"/>
                <a:gd name="connsiteY4" fmla="*/ 244888 h 244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5528" h="244888">
                  <a:moveTo>
                    <a:pt x="0" y="244888"/>
                  </a:moveTo>
                  <a:lnTo>
                    <a:pt x="376957" y="0"/>
                  </a:lnTo>
                  <a:lnTo>
                    <a:pt x="1837571" y="3060"/>
                  </a:lnTo>
                  <a:lnTo>
                    <a:pt x="5135528" y="244888"/>
                  </a:lnTo>
                  <a:lnTo>
                    <a:pt x="0" y="244888"/>
                  </a:lnTo>
                  <a:close/>
                </a:path>
              </a:pathLst>
            </a:custGeom>
            <a:solidFill>
              <a:srgbClr val="E1000F">
                <a:lumMod val="20000"/>
                <a:lumOff val="80000"/>
              </a:srgbClr>
            </a:solid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pic>
          <p:nvPicPr>
            <p:cNvPr id="74" name="Image" descr="Image">
              <a:extLst>
                <a:ext uri="{FF2B5EF4-FFF2-40B4-BE49-F238E27FC236}">
                  <a16:creationId xmlns:a16="http://schemas.microsoft.com/office/drawing/2014/main" id="{10060A36-3BDA-410B-B5C0-AB32BB1CCCE4}"/>
                </a:ext>
              </a:extLst>
            </p:cNvPr>
            <p:cNvPicPr>
              <a:picLocks noChangeAspect="1"/>
            </p:cNvPicPr>
            <p:nvPr/>
          </p:nvPicPr>
          <p:blipFill rotWithShape="1">
            <a:blip r:embed="rId16"/>
            <a:srcRect r="25778"/>
            <a:stretch/>
          </p:blipFill>
          <p:spPr bwMode="gray">
            <a:xfrm>
              <a:off x="4854651" y="4114290"/>
              <a:ext cx="2781514" cy="522842"/>
            </a:xfrm>
            <a:prstGeom prst="rect">
              <a:avLst/>
            </a:prstGeom>
            <a:ln w="12700">
              <a:miter lim="400000"/>
            </a:ln>
          </p:spPr>
        </p:pic>
        <p:sp>
          <p:nvSpPr>
            <p:cNvPr id="75" name="TextBox 49">
              <a:extLst>
                <a:ext uri="{FF2B5EF4-FFF2-40B4-BE49-F238E27FC236}">
                  <a16:creationId xmlns:a16="http://schemas.microsoft.com/office/drawing/2014/main" id="{A10AC276-C1CD-43B5-9044-6A9C50D94816}"/>
                </a:ext>
              </a:extLst>
            </p:cNvPr>
            <p:cNvSpPr txBox="1"/>
            <p:nvPr/>
          </p:nvSpPr>
          <p:spPr bwMode="gray">
            <a:xfrm>
              <a:off x="4735230" y="1821222"/>
              <a:ext cx="1332000" cy="700240"/>
            </a:xfrm>
            <a:prstGeom prst="rect">
              <a:avLst/>
            </a:prstGeom>
            <a:noFill/>
          </p:spPr>
          <p:txBody>
            <a:bodyPr wrap="square" rtlCol="0">
              <a:spAutoFit/>
            </a:bodyPr>
            <a:lstStyle/>
            <a:p>
              <a:pPr defTabSz="1219170">
                <a:defRPr/>
              </a:pPr>
              <a:r>
                <a:rPr lang="es-ES" sz="1400" kern="0">
                  <a:solidFill>
                    <a:srgbClr val="FFFFFF"/>
                  </a:solidFill>
                  <a:latin typeface="Segoe UI Light" panose="020B0502040204020203" pitchFamily="34" charset="0"/>
                  <a:cs typeface="Segoe UI Light" panose="020B0502040204020203" pitchFamily="34" charset="0"/>
                  <a:sym typeface="Segoe UI"/>
                </a:rPr>
                <a:t>VENTAS</a:t>
              </a:r>
            </a:p>
            <a:p>
              <a:pPr defTabSz="1219170">
                <a:defRPr/>
              </a:pPr>
              <a:r>
                <a:rPr lang="es-ES" sz="2667" kern="0">
                  <a:solidFill>
                    <a:srgbClr val="FFFFFF"/>
                  </a:solidFill>
                  <a:latin typeface="Segoe UI Light" panose="020B0502040204020203" pitchFamily="34" charset="0"/>
                  <a:cs typeface="Segoe UI" panose="020B0502040204020203" pitchFamily="34" charset="0"/>
                  <a:sym typeface="Segoe UI"/>
                </a:rPr>
                <a:t>8,7</a:t>
              </a:r>
              <a:r>
                <a:rPr lang="es-ES" sz="1400" kern="0">
                  <a:solidFill>
                    <a:srgbClr val="FFFFFF"/>
                  </a:solidFill>
                  <a:latin typeface="Segoe UI Light" panose="020B0502040204020203" pitchFamily="34" charset="0"/>
                  <a:cs typeface="Segoe UI" panose="020B0502040204020203" pitchFamily="34" charset="0"/>
                  <a:sym typeface="Segoe UI"/>
                </a:rPr>
                <a:t> </a:t>
              </a:r>
              <a:r>
                <a:rPr lang="es-ES" sz="1400" kern="0">
                  <a:solidFill>
                    <a:srgbClr val="FFFFFF"/>
                  </a:solidFill>
                  <a:latin typeface="Segoe UI Light" panose="020B0502040204020203" pitchFamily="34" charset="0"/>
                  <a:cs typeface="Segoe UI Light" panose="020B0502040204020203" pitchFamily="34" charset="0"/>
                  <a:sym typeface="Segoe UI"/>
                </a:rPr>
                <a:t>MILLARDOS DE EUROS</a:t>
              </a:r>
            </a:p>
          </p:txBody>
        </p:sp>
        <p:sp>
          <p:nvSpPr>
            <p:cNvPr id="76" name="TextBox 49">
              <a:extLst>
                <a:ext uri="{FF2B5EF4-FFF2-40B4-BE49-F238E27FC236}">
                  <a16:creationId xmlns:a16="http://schemas.microsoft.com/office/drawing/2014/main" id="{763234F7-677C-4C6B-8072-2D2C6FA19E32}"/>
                </a:ext>
              </a:extLst>
            </p:cNvPr>
            <p:cNvSpPr txBox="1"/>
            <p:nvPr/>
          </p:nvSpPr>
          <p:spPr bwMode="gray">
            <a:xfrm>
              <a:off x="6056510" y="1821222"/>
              <a:ext cx="1332000" cy="700240"/>
            </a:xfrm>
            <a:prstGeom prst="rect">
              <a:avLst/>
            </a:prstGeom>
            <a:noFill/>
          </p:spPr>
          <p:txBody>
            <a:bodyPr wrap="square" rtlCol="0">
              <a:spAutoFit/>
            </a:bodyPr>
            <a:lstStyle/>
            <a:p>
              <a:pPr defTabSz="1219170">
                <a:defRPr/>
              </a:pPr>
              <a:r>
                <a:rPr lang="es-ES" sz="1400" kern="0">
                  <a:solidFill>
                    <a:srgbClr val="FFFFFF"/>
                  </a:solidFill>
                  <a:latin typeface="Segoe UI Light" panose="020B0502040204020203" pitchFamily="34" charset="0"/>
                  <a:cs typeface="Segoe UI Light" panose="020B0502040204020203" pitchFamily="34" charset="0"/>
                  <a:sym typeface="Segoe UI"/>
                </a:rPr>
                <a:t>BAII</a:t>
              </a:r>
            </a:p>
            <a:p>
              <a:pPr defTabSz="1219170">
                <a:defRPr/>
              </a:pPr>
              <a:r>
                <a:rPr lang="es-ES" sz="2667" kern="0">
                  <a:solidFill>
                    <a:srgbClr val="FFFFFF"/>
                  </a:solidFill>
                  <a:latin typeface="Segoe UI Light" panose="020B0502040204020203" pitchFamily="34" charset="0"/>
                  <a:cs typeface="Segoe UI" panose="020B0502040204020203" pitchFamily="34" charset="0"/>
                  <a:sym typeface="Segoe UI"/>
                </a:rPr>
                <a:t>1,3</a:t>
              </a:r>
              <a:r>
                <a:rPr lang="es-ES" sz="1467" kern="0">
                  <a:solidFill>
                    <a:srgbClr val="FFFFFF"/>
                  </a:solidFill>
                  <a:latin typeface="Segoe UI Light" panose="020B0502040204020203" pitchFamily="34" charset="0"/>
                  <a:cs typeface="Segoe UI Light" panose="020B0502040204020203" pitchFamily="34" charset="0"/>
                  <a:sym typeface="Segoe UI"/>
                </a:rPr>
                <a:t> </a:t>
              </a:r>
              <a:r>
                <a:rPr lang="es-ES" sz="1400" kern="0">
                  <a:solidFill>
                    <a:srgbClr val="FFFFFF"/>
                  </a:solidFill>
                  <a:latin typeface="Segoe UI Light" panose="020B0502040204020203" pitchFamily="34" charset="0"/>
                  <a:cs typeface="Segoe UI Light" panose="020B0502040204020203" pitchFamily="34" charset="0"/>
                  <a:sym typeface="Segoe UI"/>
                </a:rPr>
                <a:t>MILLARDOS DE EUROS</a:t>
              </a:r>
            </a:p>
          </p:txBody>
        </p:sp>
        <p:sp>
          <p:nvSpPr>
            <p:cNvPr id="77" name="TextBox 49">
              <a:extLst>
                <a:ext uri="{FF2B5EF4-FFF2-40B4-BE49-F238E27FC236}">
                  <a16:creationId xmlns:a16="http://schemas.microsoft.com/office/drawing/2014/main" id="{B0B08ABC-55AC-40DE-ADD7-FE35E15160BB}"/>
                </a:ext>
              </a:extLst>
            </p:cNvPr>
            <p:cNvSpPr txBox="1"/>
            <p:nvPr/>
          </p:nvSpPr>
          <p:spPr bwMode="gray">
            <a:xfrm>
              <a:off x="4727250" y="2626534"/>
              <a:ext cx="4145817" cy="1239089"/>
            </a:xfrm>
            <a:prstGeom prst="rect">
              <a:avLst/>
            </a:prstGeom>
            <a:noFill/>
          </p:spPr>
          <p:txBody>
            <a:bodyPr wrap="square" rtlCol="0">
              <a:spAutoFit/>
            </a:bodyPr>
            <a:lstStyle/>
            <a:p>
              <a:pPr marL="228594" indent="-228594" defTabSz="1219170">
                <a:spcAft>
                  <a:spcPts val="400"/>
                </a:spcAft>
                <a:buFont typeface="Wingdings" panose="05000000000000000000" pitchFamily="2" charset="2"/>
                <a:buChar char="§"/>
                <a:defRPr/>
              </a:pPr>
              <a:r>
                <a:rPr lang="es-ES" sz="1467" kern="0">
                  <a:solidFill>
                    <a:srgbClr val="FFFFFF"/>
                  </a:solidFill>
                  <a:latin typeface="Segoe UI"/>
                  <a:cs typeface="Segoe UI Light" panose="020B0502040204020203" pitchFamily="34" charset="0"/>
                  <a:sym typeface="Segoe UI"/>
                </a:rPr>
                <a:t>Líder mundial del mercado (n.º 1)</a:t>
              </a:r>
            </a:p>
            <a:p>
              <a:pPr marL="228594" indent="-228594" defTabSz="1219170">
                <a:spcAft>
                  <a:spcPts val="400"/>
                </a:spcAft>
                <a:buFont typeface="Wingdings" panose="05000000000000000000" pitchFamily="2" charset="2"/>
                <a:buChar char="§"/>
                <a:defRPr/>
              </a:pPr>
              <a:r>
                <a:rPr lang="es-ES" sz="1467" kern="0">
                  <a:solidFill>
                    <a:srgbClr val="FFFFFF"/>
                  </a:solidFill>
                  <a:latin typeface="Segoe UI"/>
                  <a:cs typeface="Segoe UI Light" panose="020B0502040204020203" pitchFamily="34" charset="0"/>
                  <a:sym typeface="Segoe UI"/>
                </a:rPr>
                <a:t>El único presente en todos los segmentos</a:t>
              </a:r>
            </a:p>
            <a:p>
              <a:pPr marL="228594" indent="-228594" defTabSz="1219170">
                <a:spcAft>
                  <a:spcPts val="400"/>
                </a:spcAft>
                <a:buFont typeface="Wingdings" panose="05000000000000000000" pitchFamily="2" charset="2"/>
                <a:buChar char="§"/>
                <a:defRPr/>
              </a:pPr>
              <a:r>
                <a:rPr lang="es-ES" sz="1467" kern="0">
                  <a:solidFill>
                    <a:srgbClr val="FFFFFF"/>
                  </a:solidFill>
                  <a:latin typeface="Segoe UI"/>
                  <a:cs typeface="Segoe UI Light" panose="020B0502040204020203" pitchFamily="34" charset="0"/>
                  <a:sym typeface="Segoe UI"/>
                </a:rPr>
                <a:t>Gran presencia mundial, activo en más de 150 países</a:t>
              </a:r>
            </a:p>
            <a:p>
              <a:pPr marL="228594" indent="-228594" defTabSz="1219170">
                <a:spcAft>
                  <a:spcPts val="400"/>
                </a:spcAft>
                <a:buFont typeface="Wingdings" panose="05000000000000000000" pitchFamily="2" charset="2"/>
                <a:buChar char="§"/>
                <a:defRPr/>
              </a:pPr>
              <a:r>
                <a:rPr lang="es-ES" sz="1467" kern="0">
                  <a:solidFill>
                    <a:srgbClr val="FFFFFF"/>
                  </a:solidFill>
                  <a:latin typeface="Segoe UI"/>
                  <a:cs typeface="Segoe UI Light" panose="020B0502040204020203" pitchFamily="34" charset="0"/>
                  <a:sym typeface="Segoe UI"/>
                </a:rPr>
                <a:t>Asociaciones duraderas con &gt;130.000 clientes de una gran variedad de industrias</a:t>
              </a:r>
            </a:p>
            <a:p>
              <a:pPr marL="228594" indent="-228594" defTabSz="1219170">
                <a:buFont typeface="Wingdings" panose="05000000000000000000" pitchFamily="2" charset="2"/>
                <a:buChar char="§"/>
                <a:defRPr/>
              </a:pPr>
              <a:endParaRPr lang="de-DE" sz="1467" kern="0">
                <a:solidFill>
                  <a:srgbClr val="FFFFFF"/>
                </a:solidFill>
                <a:latin typeface="Segoe UI"/>
                <a:cs typeface="Segoe UI Light" panose="020B0502040204020203" pitchFamily="34" charset="0"/>
                <a:sym typeface="Segoe UI"/>
              </a:endParaRPr>
            </a:p>
          </p:txBody>
        </p:sp>
        <p:sp>
          <p:nvSpPr>
            <p:cNvPr id="78" name="TextBox 49">
              <a:extLst>
                <a:ext uri="{FF2B5EF4-FFF2-40B4-BE49-F238E27FC236}">
                  <a16:creationId xmlns:a16="http://schemas.microsoft.com/office/drawing/2014/main" id="{3F77C043-65AD-4AE1-A12C-8AF547C87602}"/>
                </a:ext>
              </a:extLst>
            </p:cNvPr>
            <p:cNvSpPr txBox="1"/>
            <p:nvPr/>
          </p:nvSpPr>
          <p:spPr bwMode="gray">
            <a:xfrm>
              <a:off x="7707258" y="3944161"/>
              <a:ext cx="1332000" cy="653304"/>
            </a:xfrm>
            <a:prstGeom prst="rect">
              <a:avLst/>
            </a:prstGeom>
            <a:noFill/>
          </p:spPr>
          <p:txBody>
            <a:bodyPr wrap="square" rtlCol="0">
              <a:spAutoFit/>
            </a:bodyPr>
            <a:lstStyle/>
            <a:p>
              <a:pPr defTabSz="1219170">
                <a:defRPr/>
              </a:pPr>
              <a:r>
                <a:rPr lang="es-ES" sz="1400" kern="0">
                  <a:solidFill>
                    <a:srgbClr val="FFFFFF"/>
                  </a:solidFill>
                  <a:latin typeface="Segoe UI Light" panose="020B0502040204020203" pitchFamily="34" charset="0"/>
                  <a:cs typeface="Segoe UI Light" panose="020B0502040204020203" pitchFamily="34" charset="0"/>
                  <a:sym typeface="Segoe UI"/>
                </a:rPr>
                <a:t>VENTAS</a:t>
              </a:r>
            </a:p>
            <a:p>
              <a:pPr defTabSz="1219170">
                <a:lnSpc>
                  <a:spcPct val="90000"/>
                </a:lnSpc>
                <a:defRPr/>
              </a:pPr>
              <a:r>
                <a:rPr lang="es-ES" sz="2667" kern="0">
                  <a:solidFill>
                    <a:srgbClr val="FFFFFF"/>
                  </a:solidFill>
                  <a:latin typeface="Segoe UI Light" panose="020B0502040204020203" pitchFamily="34" charset="0"/>
                  <a:cs typeface="Segoe UI" panose="020B0502040204020203" pitchFamily="34" charset="0"/>
                  <a:sym typeface="Segoe UI"/>
                </a:rPr>
                <a:t>2,9 </a:t>
              </a:r>
              <a:r>
                <a:rPr lang="es-ES" sz="1400" kern="0">
                  <a:solidFill>
                    <a:srgbClr val="FFFFFF"/>
                  </a:solidFill>
                  <a:latin typeface="Segoe UI Light" panose="020B0502040204020203" pitchFamily="34" charset="0"/>
                  <a:cs typeface="Segoe UI Light" panose="020B0502040204020203" pitchFamily="34" charset="0"/>
                  <a:sym typeface="Segoe UI"/>
                </a:rPr>
                <a:t>MILLARDOS DE EUROS</a:t>
              </a:r>
            </a:p>
          </p:txBody>
        </p:sp>
        <p:sp>
          <p:nvSpPr>
            <p:cNvPr id="79" name="TextBox 49">
              <a:extLst>
                <a:ext uri="{FF2B5EF4-FFF2-40B4-BE49-F238E27FC236}">
                  <a16:creationId xmlns:a16="http://schemas.microsoft.com/office/drawing/2014/main" id="{86AD7230-8A0D-4252-8A2C-5161C2FA8D2E}"/>
                </a:ext>
              </a:extLst>
            </p:cNvPr>
            <p:cNvSpPr txBox="1"/>
            <p:nvPr/>
          </p:nvSpPr>
          <p:spPr bwMode="gray">
            <a:xfrm>
              <a:off x="4755330" y="4640753"/>
              <a:ext cx="4413596" cy="615697"/>
            </a:xfrm>
            <a:prstGeom prst="rect">
              <a:avLst/>
            </a:prstGeom>
            <a:noFill/>
          </p:spPr>
          <p:txBody>
            <a:bodyPr wrap="square" rtlCol="0">
              <a:spAutoFit/>
            </a:bodyPr>
            <a:lstStyle/>
            <a:p>
              <a:pPr defTabSz="1219170">
                <a:spcAft>
                  <a:spcPts val="400"/>
                </a:spcAft>
                <a:defRPr/>
              </a:pPr>
              <a:r>
                <a:rPr lang="es-ES" sz="1467" i="1" kern="0">
                  <a:solidFill>
                    <a:srgbClr val="FFFFFF"/>
                  </a:solidFill>
                  <a:latin typeface="Segoe UI"/>
                  <a:cs typeface="Segoe UI Light" panose="020B0502040204020203" pitchFamily="34" charset="0"/>
                  <a:sym typeface="Segoe UI"/>
                </a:rPr>
                <a:t>La</a:t>
              </a:r>
              <a:r>
                <a:rPr lang="es-ES" sz="1467" kern="0">
                  <a:solidFill>
                    <a:srgbClr val="FFFFFF"/>
                  </a:solidFill>
                  <a:latin typeface="Segoe UI"/>
                  <a:cs typeface="Segoe UI Light" panose="020B0502040204020203" pitchFamily="34" charset="0"/>
                  <a:sym typeface="Segoe UI"/>
                </a:rPr>
                <a:t> elección de confianza en soluciones de adhesión, sellado, recubrimiento de superficies y limpieza de altas prestaciones.</a:t>
              </a:r>
            </a:p>
            <a:p>
              <a:pPr marL="228594" indent="-228594" defTabSz="1219170">
                <a:buFont typeface="Wingdings" panose="05000000000000000000" pitchFamily="2" charset="2"/>
                <a:buChar char="§"/>
                <a:defRPr/>
              </a:pPr>
              <a:endParaRPr lang="de-DE" sz="1467" kern="0">
                <a:solidFill>
                  <a:srgbClr val="FFFFFF"/>
                </a:solidFill>
                <a:latin typeface="Segoe UI"/>
                <a:cs typeface="Segoe UI Light" panose="020B0502040204020203" pitchFamily="34" charset="0"/>
                <a:sym typeface="Segoe UI"/>
              </a:endParaRPr>
            </a:p>
          </p:txBody>
        </p:sp>
        <p:pic>
          <p:nvPicPr>
            <p:cNvPr id="80" name="Picture 79" descr="A picture containing text, indoor, device, miller&#10;&#10;Description automatically generated">
              <a:extLst>
                <a:ext uri="{FF2B5EF4-FFF2-40B4-BE49-F238E27FC236}">
                  <a16:creationId xmlns:a16="http://schemas.microsoft.com/office/drawing/2014/main" id="{1013FDB7-8D71-4BC4-B1CC-8677FF5A9093}"/>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622"/>
            <a:stretch/>
          </p:blipFill>
          <p:spPr bwMode="gray">
            <a:xfrm>
              <a:off x="4588148" y="0"/>
              <a:ext cx="4579926" cy="1735897"/>
            </a:xfrm>
            <a:prstGeom prst="rect">
              <a:avLst/>
            </a:prstGeom>
          </p:spPr>
        </p:pic>
        <p:sp>
          <p:nvSpPr>
            <p:cNvPr id="81" name="TextBox 45">
              <a:extLst>
                <a:ext uri="{FF2B5EF4-FFF2-40B4-BE49-F238E27FC236}">
                  <a16:creationId xmlns:a16="http://schemas.microsoft.com/office/drawing/2014/main" id="{1E0E4409-B487-4FAE-81DF-76A06A4920AE}"/>
                </a:ext>
              </a:extLst>
            </p:cNvPr>
            <p:cNvSpPr txBox="1"/>
            <p:nvPr/>
          </p:nvSpPr>
          <p:spPr bwMode="gray">
            <a:xfrm>
              <a:off x="4436510" y="243218"/>
              <a:ext cx="4572000" cy="1177245"/>
            </a:xfrm>
            <a:prstGeom prst="rect">
              <a:avLst/>
            </a:prstGeom>
            <a:noFill/>
          </p:spPr>
          <p:txBody>
            <a:bodyPr wrap="square" rtlCol="0">
              <a:spAutoFit/>
            </a:bodyPr>
            <a:lstStyle/>
            <a:p>
              <a:pPr algn="ctr" defTabSz="1219170">
                <a:defRPr/>
              </a:pPr>
              <a:r>
                <a:rPr lang="es-ES" sz="4800" kern="0">
                  <a:solidFill>
                    <a:srgbClr val="FFFFFF"/>
                  </a:solidFill>
                  <a:effectLst>
                    <a:outerShdw blurRad="38100" dist="38100" dir="2700000" algn="tl">
                      <a:srgbClr val="000000">
                        <a:alpha val="43137"/>
                      </a:srgbClr>
                    </a:outerShdw>
                  </a:effectLst>
                  <a:latin typeface="Segoe UI"/>
                  <a:cs typeface="Segoe UI" panose="020B0502040204020203" pitchFamily="34" charset="0"/>
                  <a:sym typeface="Segoe UI"/>
                </a:rPr>
                <a:t>TECNOLOGÍAS DE ADHESIÓN</a:t>
              </a:r>
            </a:p>
          </p:txBody>
        </p:sp>
        <p:pic>
          <p:nvPicPr>
            <p:cNvPr id="82" name="Picture 81">
              <a:extLst>
                <a:ext uri="{FF2B5EF4-FFF2-40B4-BE49-F238E27FC236}">
                  <a16:creationId xmlns:a16="http://schemas.microsoft.com/office/drawing/2014/main" id="{F2BE1769-E64A-4853-99A5-983327BA2DBE}"/>
                </a:ext>
              </a:extLst>
            </p:cNvPr>
            <p:cNvPicPr>
              <a:picLocks noChangeAspect="1"/>
            </p:cNvPicPr>
            <p:nvPr/>
          </p:nvPicPr>
          <p:blipFill>
            <a:blip r:embed="rId18"/>
            <a:stretch>
              <a:fillRect/>
            </a:stretch>
          </p:blipFill>
          <p:spPr bwMode="gray">
            <a:xfrm>
              <a:off x="7500876" y="1745650"/>
              <a:ext cx="1194920" cy="1249788"/>
            </a:xfrm>
            <a:prstGeom prst="rect">
              <a:avLst/>
            </a:prstGeom>
          </p:spPr>
        </p:pic>
        <p:pic>
          <p:nvPicPr>
            <p:cNvPr id="83" name="Picture 113">
              <a:extLst>
                <a:ext uri="{FF2B5EF4-FFF2-40B4-BE49-F238E27FC236}">
                  <a16:creationId xmlns:a16="http://schemas.microsoft.com/office/drawing/2014/main" id="{F9144087-3034-43F2-BED2-6C0EEE18FFD6}"/>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gray">
            <a:xfrm>
              <a:off x="8200899" y="1751909"/>
              <a:ext cx="388448" cy="217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Ellipse 3">
              <a:extLst>
                <a:ext uri="{FF2B5EF4-FFF2-40B4-BE49-F238E27FC236}">
                  <a16:creationId xmlns:a16="http://schemas.microsoft.com/office/drawing/2014/main" id="{7632C510-F40A-4847-BF4C-086254AA2935}"/>
                </a:ext>
              </a:extLst>
            </p:cNvPr>
            <p:cNvSpPr/>
            <p:nvPr/>
          </p:nvSpPr>
          <p:spPr bwMode="gray">
            <a:xfrm>
              <a:off x="7864387" y="2136890"/>
              <a:ext cx="468000" cy="468000"/>
            </a:xfrm>
            <a:prstGeom prst="ellipse">
              <a:avLst/>
            </a:prstGeom>
            <a:solidFill>
              <a:srgbClr val="E1000F"/>
            </a:solidFill>
            <a:ln w="9525" cap="flat" cmpd="sng" algn="ctr">
              <a:solidFill>
                <a:srgbClr val="FFFFFF"/>
              </a:solidFill>
              <a:prstDash val="solid"/>
              <a:round/>
              <a:headEnd type="none" w="med" len="med"/>
              <a:tailEnd type="none" w="med" len="med"/>
            </a:ln>
            <a:effectLst/>
          </p:spPr>
          <p:txBody>
            <a:bodyPr vert="horz" wrap="non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defRPr/>
              </a:pPr>
              <a:endParaRPr lang="en-US" sz="2400" kern="0">
                <a:solidFill>
                  <a:sysClr val="windowText" lastClr="000000"/>
                </a:solidFill>
                <a:latin typeface="Segoe UI"/>
                <a:cs typeface="Segoe UI"/>
                <a:sym typeface="Segoe UI"/>
              </a:endParaRPr>
            </a:p>
          </p:txBody>
        </p:sp>
        <p:sp>
          <p:nvSpPr>
            <p:cNvPr id="85" name="Textfeld 73">
              <a:extLst>
                <a:ext uri="{FF2B5EF4-FFF2-40B4-BE49-F238E27FC236}">
                  <a16:creationId xmlns:a16="http://schemas.microsoft.com/office/drawing/2014/main" id="{B4B75A4B-EB02-4C1F-99ED-46FB9D896AEC}"/>
                </a:ext>
              </a:extLst>
            </p:cNvPr>
            <p:cNvSpPr txBox="1"/>
            <p:nvPr/>
          </p:nvSpPr>
          <p:spPr bwMode="gray">
            <a:xfrm>
              <a:off x="7700702" y="2030667"/>
              <a:ext cx="754017" cy="609686"/>
            </a:xfrm>
            <a:prstGeom prst="rect">
              <a:avLst/>
            </a:prstGeom>
            <a:noFill/>
          </p:spPr>
          <p:txBody>
            <a:bodyPr wrap="square">
              <a:spAutoFit/>
            </a:bodyPr>
            <a:lstStyle/>
            <a:p>
              <a:pPr algn="ctr" defTabSz="1219170" fontAlgn="base">
                <a:lnSpc>
                  <a:spcPct val="105000"/>
                </a:lnSpc>
                <a:spcBef>
                  <a:spcPct val="0"/>
                </a:spcBef>
                <a:spcAft>
                  <a:spcPct val="0"/>
                </a:spcAft>
                <a:buClr>
                  <a:srgbClr val="E1000F"/>
                </a:buClr>
                <a:buSzPct val="120000"/>
                <a:defRPr/>
              </a:pPr>
              <a:r>
                <a:rPr lang="es-ES" sz="1600" b="1" kern="0">
                  <a:solidFill>
                    <a:srgbClr val="FFFFFF"/>
                  </a:solidFill>
                  <a:latin typeface="Segoe UI"/>
                  <a:cs typeface="Segoe UI"/>
                  <a:sym typeface="Segoe UI"/>
                </a:rPr>
                <a:t>65</a:t>
              </a:r>
              <a:r>
                <a:rPr lang="es-ES" sz="2400" b="1" kern="0">
                  <a:solidFill>
                    <a:srgbClr val="FFFFFF"/>
                  </a:solidFill>
                  <a:latin typeface="Segoe UI"/>
                  <a:cs typeface="Segoe UI"/>
                  <a:sym typeface="Segoe UI"/>
                </a:rPr>
                <a:t> </a:t>
              </a:r>
              <a:r>
                <a:rPr lang="es-ES" sz="1067" b="1" kern="0">
                  <a:solidFill>
                    <a:srgbClr val="FFFFFF"/>
                  </a:solidFill>
                  <a:latin typeface="Segoe UI Light" panose="020B0502040204020203" pitchFamily="34" charset="0"/>
                  <a:cs typeface="Segoe UI Light" panose="020B0502040204020203" pitchFamily="34" charset="0"/>
                  <a:sym typeface="Segoe UI"/>
                </a:rPr>
                <a:t>MILLARDOS DE EUROS</a:t>
              </a:r>
            </a:p>
          </p:txBody>
        </p:sp>
      </p:grpSp>
    </p:spTree>
    <p:extLst>
      <p:ext uri="{BB962C8B-B14F-4D97-AF65-F5344CB8AC3E}">
        <p14:creationId xmlns:p14="http://schemas.microsoft.com/office/powerpoint/2010/main" val="614815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E4B6D973-2B90-4D1E-B860-62C6E80DAB4A}"/>
              </a:ext>
            </a:extLst>
          </p:cNvPr>
          <p:cNvSpPr/>
          <p:nvPr/>
        </p:nvSpPr>
        <p:spPr bwMode="gray">
          <a:xfrm>
            <a:off x="6479829" y="2264802"/>
            <a:ext cx="5040000" cy="2907401"/>
          </a:xfrm>
          <a:prstGeom prst="rect">
            <a:avLst/>
          </a:prstGeom>
          <a:solidFill>
            <a:schemeClr val="tx2"/>
          </a:solidFill>
          <a:ln w="12700" cap="sq" cmpd="sng" algn="ctr">
            <a:solidFill>
              <a:schemeClr val="tx2"/>
            </a:solidFill>
            <a:prstDash val="solid"/>
            <a:miter lim="800000"/>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pic>
        <p:nvPicPr>
          <p:cNvPr id="54" name="LOCP_NEG.png" descr="LOCP_NEG.png">
            <a:extLst>
              <a:ext uri="{FF2B5EF4-FFF2-40B4-BE49-F238E27FC236}">
                <a16:creationId xmlns:a16="http://schemas.microsoft.com/office/drawing/2014/main" id="{3DFD58EE-C3B7-452F-A9BE-845AD3F9678C}"/>
              </a:ext>
            </a:extLst>
          </p:cNvPr>
          <p:cNvPicPr>
            <a:picLocks noChangeAspect="1"/>
          </p:cNvPicPr>
          <p:nvPr/>
        </p:nvPicPr>
        <p:blipFill>
          <a:blip r:embed="rId4"/>
          <a:stretch>
            <a:fillRect/>
          </a:stretch>
        </p:blipFill>
        <p:spPr bwMode="gray">
          <a:xfrm>
            <a:off x="6318440" y="2732155"/>
            <a:ext cx="5415761" cy="1731572"/>
          </a:xfrm>
          <a:prstGeom prst="rect">
            <a:avLst/>
          </a:prstGeom>
          <a:ln w="12700">
            <a:miter lim="400000"/>
          </a:ln>
        </p:spPr>
      </p:pic>
      <p:sp>
        <p:nvSpPr>
          <p:cNvPr id="46" name="Rechteck 45">
            <a:extLst>
              <a:ext uri="{FF2B5EF4-FFF2-40B4-BE49-F238E27FC236}">
                <a16:creationId xmlns:a16="http://schemas.microsoft.com/office/drawing/2014/main" id="{73AE452B-702D-44F4-A128-34F2888E0F83}"/>
              </a:ext>
            </a:extLst>
          </p:cNvPr>
          <p:cNvSpPr/>
          <p:nvPr/>
        </p:nvSpPr>
        <p:spPr bwMode="gray">
          <a:xfrm>
            <a:off x="6479829" y="1856319"/>
            <a:ext cx="5040000" cy="3315891"/>
          </a:xfrm>
          <a:prstGeom prst="rect">
            <a:avLst/>
          </a:prstGeom>
          <a:solidFill>
            <a:schemeClr val="bg1"/>
          </a:solidFill>
          <a:ln w="12700" cap="flat">
            <a:solidFill>
              <a:srgbClr val="E1041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graphicFrame>
        <p:nvGraphicFramePr>
          <p:cNvPr id="11" name="Objekt 10">
            <a:extLst>
              <a:ext uri="{FF2B5EF4-FFF2-40B4-BE49-F238E27FC236}">
                <a16:creationId xmlns:a16="http://schemas.microsoft.com/office/drawing/2014/main" id="{7FA4A332-6A3C-428D-807E-BC939D073BF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11" name="Objekt 10">
                        <a:extLst>
                          <a:ext uri="{FF2B5EF4-FFF2-40B4-BE49-F238E27FC236}">
                            <a16:creationId xmlns:a16="http://schemas.microsoft.com/office/drawing/2014/main" id="{7FA4A332-6A3C-428D-807E-BC939D073BF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C05711E-375A-4B67-904B-C842B3A72F3A}"/>
              </a:ext>
            </a:extLst>
          </p:cNvPr>
          <p:cNvSpPr>
            <a:spLocks noGrp="1"/>
          </p:cNvSpPr>
          <p:nvPr>
            <p:ph type="title"/>
          </p:nvPr>
        </p:nvSpPr>
        <p:spPr bwMode="gray"/>
        <p:txBody>
          <a:bodyPr vert="horz"/>
          <a:lstStyle/>
          <a:p>
            <a:r>
              <a:rPr lang="es-ES" sz="3200"/>
              <a:t>COMO EVOLUCIONA NUESTRA OFERTA</a:t>
            </a:r>
            <a:br>
              <a:rPr lang="es-ES" sz="3200"/>
            </a:br>
            <a:endParaRPr lang="es-ES" sz="3200"/>
          </a:p>
        </p:txBody>
      </p:sp>
      <p:sp>
        <p:nvSpPr>
          <p:cNvPr id="3" name="Untertitel 2">
            <a:extLst>
              <a:ext uri="{FF2B5EF4-FFF2-40B4-BE49-F238E27FC236}">
                <a16:creationId xmlns:a16="http://schemas.microsoft.com/office/drawing/2014/main" id="{538F67BD-7695-406B-862C-8FEB03F632CA}"/>
              </a:ext>
            </a:extLst>
          </p:cNvPr>
          <p:cNvSpPr>
            <a:spLocks noGrp="1"/>
          </p:cNvSpPr>
          <p:nvPr>
            <p:ph type="subTitle" idx="14"/>
          </p:nvPr>
        </p:nvSpPr>
        <p:spPr bwMode="gray">
          <a:xfrm>
            <a:off x="600253" y="1014411"/>
            <a:ext cx="11000316" cy="379508"/>
          </a:xfrm>
        </p:spPr>
        <p:txBody>
          <a:bodyPr/>
          <a:lstStyle/>
          <a:p>
            <a:r>
              <a:rPr lang="es-ES" sz="2133"/>
              <a:t>De ‘reactivo’ a ‘prescriptivo’</a:t>
            </a:r>
          </a:p>
          <a:p>
            <a:endParaRPr lang="en-US"/>
          </a:p>
        </p:txBody>
      </p:sp>
      <p:sp>
        <p:nvSpPr>
          <p:cNvPr id="12" name="Straight Arrow Connector 25">
            <a:extLst>
              <a:ext uri="{FF2B5EF4-FFF2-40B4-BE49-F238E27FC236}">
                <a16:creationId xmlns:a16="http://schemas.microsoft.com/office/drawing/2014/main" id="{DE60709C-B03B-4A15-8E27-B13A576E74AD}"/>
              </a:ext>
            </a:extLst>
          </p:cNvPr>
          <p:cNvSpPr/>
          <p:nvPr/>
        </p:nvSpPr>
        <p:spPr bwMode="gray">
          <a:xfrm flipV="1">
            <a:off x="896054" y="1702300"/>
            <a:ext cx="1" cy="4109585"/>
          </a:xfrm>
          <a:prstGeom prst="line">
            <a:avLst/>
          </a:prstGeom>
          <a:noFill/>
          <a:ln w="19050" cap="flat">
            <a:solidFill>
              <a:srgbClr val="000000"/>
            </a:solidFill>
            <a:prstDash val="solid"/>
            <a:round/>
            <a:tailEnd type="triangle" w="med" len="me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13" name="Straight Arrow Connector 26">
            <a:extLst>
              <a:ext uri="{FF2B5EF4-FFF2-40B4-BE49-F238E27FC236}">
                <a16:creationId xmlns:a16="http://schemas.microsoft.com/office/drawing/2014/main" id="{0101FA69-6795-4043-85AE-236A57DDCD0A}"/>
              </a:ext>
            </a:extLst>
          </p:cNvPr>
          <p:cNvSpPr/>
          <p:nvPr/>
        </p:nvSpPr>
        <p:spPr bwMode="gray">
          <a:xfrm>
            <a:off x="891157" y="5809972"/>
            <a:ext cx="10699711" cy="0"/>
          </a:xfrm>
          <a:prstGeom prst="line">
            <a:avLst/>
          </a:prstGeom>
          <a:noFill/>
          <a:ln w="19050" cap="flat">
            <a:solidFill>
              <a:srgbClr val="000000"/>
            </a:solidFill>
            <a:prstDash val="solid"/>
            <a:round/>
            <a:tailEnd type="triangle" w="med" len="me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14" name="Textfeld 15">
            <a:extLst>
              <a:ext uri="{FF2B5EF4-FFF2-40B4-BE49-F238E27FC236}">
                <a16:creationId xmlns:a16="http://schemas.microsoft.com/office/drawing/2014/main" id="{ACA31585-067D-470D-9298-5BB70926D16C}"/>
              </a:ext>
            </a:extLst>
          </p:cNvPr>
          <p:cNvSpPr txBox="1"/>
          <p:nvPr/>
        </p:nvSpPr>
        <p:spPr bwMode="gray">
          <a:xfrm rot="16200000">
            <a:off x="-1251477" y="3697703"/>
            <a:ext cx="3868479" cy="2203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900"/>
            </a:lvl1pPr>
          </a:lstStyle>
          <a:p>
            <a:pPr defTabSz="1219140" hangingPunct="0"/>
            <a:r>
              <a:rPr lang="es-ES" sz="1467" kern="0" dirty="0">
                <a:solidFill>
                  <a:srgbClr val="000000"/>
                </a:solidFill>
                <a:latin typeface="Segoe UI"/>
                <a:cs typeface="Segoe UI"/>
                <a:sym typeface="Segoe UI"/>
              </a:rPr>
              <a:t>Valor para el dueño </a:t>
            </a:r>
            <a:r>
              <a:rPr lang="es-ES" sz="1467" kern="0">
                <a:solidFill>
                  <a:srgbClr val="000000"/>
                </a:solidFill>
                <a:latin typeface="Segoe UI"/>
                <a:cs typeface="Segoe UI"/>
                <a:sym typeface="Segoe UI"/>
              </a:rPr>
              <a:t>del Activo</a:t>
            </a:r>
            <a:endParaRPr lang="es-ES" sz="1467" kern="0" dirty="0">
              <a:solidFill>
                <a:srgbClr val="000000"/>
              </a:solidFill>
              <a:latin typeface="Segoe UI"/>
              <a:cs typeface="Segoe UI"/>
              <a:sym typeface="Segoe UI"/>
            </a:endParaRPr>
          </a:p>
        </p:txBody>
      </p:sp>
      <p:sp>
        <p:nvSpPr>
          <p:cNvPr id="15" name="Textfeld 15">
            <a:extLst>
              <a:ext uri="{FF2B5EF4-FFF2-40B4-BE49-F238E27FC236}">
                <a16:creationId xmlns:a16="http://schemas.microsoft.com/office/drawing/2014/main" id="{D7282FFF-CEB6-499D-84FE-86180C62C17D}"/>
              </a:ext>
            </a:extLst>
          </p:cNvPr>
          <p:cNvSpPr txBox="1"/>
          <p:nvPr/>
        </p:nvSpPr>
        <p:spPr bwMode="gray">
          <a:xfrm>
            <a:off x="891157" y="5871914"/>
            <a:ext cx="8536296" cy="2203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900"/>
            </a:lvl1pPr>
          </a:lstStyle>
          <a:p>
            <a:pPr defTabSz="1219140" hangingPunct="0"/>
            <a:r>
              <a:rPr lang="es-ES" sz="1467" kern="0">
                <a:solidFill>
                  <a:srgbClr val="000000"/>
                </a:solidFill>
                <a:latin typeface="Segoe UI"/>
                <a:cs typeface="Segoe UI"/>
                <a:sym typeface="Segoe UI"/>
              </a:rPr>
              <a:t>Tiempo/Complejidad</a:t>
            </a:r>
          </a:p>
        </p:txBody>
      </p:sp>
      <p:grpSp>
        <p:nvGrpSpPr>
          <p:cNvPr id="4" name="Gruppieren 3">
            <a:extLst>
              <a:ext uri="{FF2B5EF4-FFF2-40B4-BE49-F238E27FC236}">
                <a16:creationId xmlns:a16="http://schemas.microsoft.com/office/drawing/2014/main" id="{96AFA52B-D5BA-459A-85BB-0E4FE5333724}"/>
              </a:ext>
            </a:extLst>
          </p:cNvPr>
          <p:cNvGrpSpPr/>
          <p:nvPr/>
        </p:nvGrpSpPr>
        <p:grpSpPr bwMode="gray">
          <a:xfrm>
            <a:off x="9395632" y="2522805"/>
            <a:ext cx="1900315" cy="2027357"/>
            <a:chOff x="5468017" y="1892103"/>
            <a:chExt cx="1425236" cy="1520518"/>
          </a:xfrm>
        </p:grpSpPr>
        <p:sp>
          <p:nvSpPr>
            <p:cNvPr id="22" name="Textfeld 18">
              <a:extLst>
                <a:ext uri="{FF2B5EF4-FFF2-40B4-BE49-F238E27FC236}">
                  <a16:creationId xmlns:a16="http://schemas.microsoft.com/office/drawing/2014/main" id="{9BCDA6EB-4ACE-4CEB-A4B0-88050E834FED}"/>
                </a:ext>
              </a:extLst>
            </p:cNvPr>
            <p:cNvSpPr txBox="1"/>
            <p:nvPr/>
          </p:nvSpPr>
          <p:spPr bwMode="gray">
            <a:xfrm>
              <a:off x="5550634" y="2593776"/>
              <a:ext cx="1260001" cy="2103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1400" b="1">
                  <a:solidFill>
                    <a:srgbClr val="E1000F"/>
                  </a:solidFill>
                </a:defRPr>
              </a:lvl1pPr>
            </a:lstStyle>
            <a:p>
              <a:pPr defTabSz="1219140" hangingPunct="0"/>
              <a:r>
                <a:rPr lang="es-ES" sz="1867" kern="0">
                  <a:latin typeface="Segoe UI"/>
                  <a:cs typeface="Segoe UI"/>
                  <a:sym typeface="Segoe UI"/>
                </a:rPr>
                <a:t>Prescriptivo</a:t>
              </a:r>
            </a:p>
          </p:txBody>
        </p:sp>
        <p:sp>
          <p:nvSpPr>
            <p:cNvPr id="23" name="Straight Connector 48">
              <a:extLst>
                <a:ext uri="{FF2B5EF4-FFF2-40B4-BE49-F238E27FC236}">
                  <a16:creationId xmlns:a16="http://schemas.microsoft.com/office/drawing/2014/main" id="{F6ABD844-E390-4EDD-BEAF-2542EDBA359F}"/>
                </a:ext>
              </a:extLst>
            </p:cNvPr>
            <p:cNvSpPr/>
            <p:nvPr/>
          </p:nvSpPr>
          <p:spPr bwMode="gray">
            <a:xfrm>
              <a:off x="5568635" y="2855917"/>
              <a:ext cx="1224000" cy="0"/>
            </a:xfrm>
            <a:prstGeom prst="line">
              <a:avLst/>
            </a:prstGeom>
            <a:solidFill>
              <a:srgbClr val="FFFFFF"/>
            </a:solidFill>
            <a:ln w="12700" cap="flat">
              <a:solidFill>
                <a:srgbClr val="E1000F"/>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24" name="Textfeld 18">
              <a:extLst>
                <a:ext uri="{FF2B5EF4-FFF2-40B4-BE49-F238E27FC236}">
                  <a16:creationId xmlns:a16="http://schemas.microsoft.com/office/drawing/2014/main" id="{14F8EDE2-3F09-4573-8758-357198A95066}"/>
                </a:ext>
              </a:extLst>
            </p:cNvPr>
            <p:cNvSpPr txBox="1"/>
            <p:nvPr/>
          </p:nvSpPr>
          <p:spPr bwMode="gray">
            <a:xfrm>
              <a:off x="5468017" y="2904645"/>
              <a:ext cx="1425236" cy="5079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378">
                <a:spcBef>
                  <a:spcPts val="600"/>
                </a:spcBef>
                <a:defRPr sz="1100"/>
              </a:lvl1pPr>
            </a:lstStyle>
            <a:p>
              <a:pPr defTabSz="1219140" hangingPunct="0">
                <a:spcBef>
                  <a:spcPts val="800"/>
                </a:spcBef>
              </a:pPr>
              <a:r>
                <a:rPr lang="es-ES" sz="1467" kern="0">
                  <a:solidFill>
                    <a:srgbClr val="000000"/>
                  </a:solidFill>
                  <a:latin typeface="Segoe UI"/>
                  <a:cs typeface="Segoe UI"/>
                  <a:sym typeface="Segoe UI"/>
                </a:rPr>
                <a:t>“Evitar los fallos y recomendar soluciones”</a:t>
              </a:r>
            </a:p>
          </p:txBody>
        </p:sp>
        <p:grpSp>
          <p:nvGrpSpPr>
            <p:cNvPr id="30" name="Gruppieren 53">
              <a:extLst>
                <a:ext uri="{FF2B5EF4-FFF2-40B4-BE49-F238E27FC236}">
                  <a16:creationId xmlns:a16="http://schemas.microsoft.com/office/drawing/2014/main" id="{8B2A93AA-6690-4894-8F81-0D98E7B42A72}"/>
                </a:ext>
              </a:extLst>
            </p:cNvPr>
            <p:cNvGrpSpPr/>
            <p:nvPr/>
          </p:nvGrpSpPr>
          <p:grpSpPr bwMode="gray">
            <a:xfrm>
              <a:off x="5904249" y="1892103"/>
              <a:ext cx="552772" cy="552770"/>
              <a:chOff x="-1" y="-1"/>
              <a:chExt cx="552770" cy="552769"/>
            </a:xfrm>
          </p:grpSpPr>
          <p:sp>
            <p:nvSpPr>
              <p:cNvPr id="31" name="Oval 50">
                <a:extLst>
                  <a:ext uri="{FF2B5EF4-FFF2-40B4-BE49-F238E27FC236}">
                    <a16:creationId xmlns:a16="http://schemas.microsoft.com/office/drawing/2014/main" id="{A84A39EC-E51A-4094-A8F9-6437A3DE0572}"/>
                  </a:ext>
                </a:extLst>
              </p:cNvPr>
              <p:cNvSpPr/>
              <p:nvPr/>
            </p:nvSpPr>
            <p:spPr bwMode="gray">
              <a:xfrm>
                <a:off x="-1" y="-1"/>
                <a:ext cx="552770" cy="552769"/>
              </a:xfrm>
              <a:prstGeom prst="ellipse">
                <a:avLst/>
              </a:prstGeom>
              <a:solidFill>
                <a:srgbClr val="FFFFFF"/>
              </a:solidFill>
              <a:ln w="12700" cap="flat">
                <a:solidFill>
                  <a:srgbClr val="D10008"/>
                </a:solidFill>
                <a:prstDash val="solid"/>
                <a:round/>
              </a:ln>
              <a:effectLst/>
            </p:spPr>
            <p:txBody>
              <a:bodyPr wrap="square" lIns="62399" tIns="62399" rIns="62399" bIns="62399" numCol="1" anchor="t">
                <a:noAutofit/>
              </a:bodyPr>
              <a:lstStyle/>
              <a:p>
                <a:pPr defTabSz="1219140" hangingPunct="0">
                  <a:lnSpc>
                    <a:spcPct val="104999"/>
                  </a:lnSpc>
                </a:pPr>
                <a:endParaRPr lang="en-US" sz="2400" kern="0">
                  <a:solidFill>
                    <a:srgbClr val="000000"/>
                  </a:solidFill>
                  <a:latin typeface="Segoe UI"/>
                  <a:cs typeface="Segoe UI"/>
                  <a:sym typeface="Segoe UI"/>
                </a:endParaRPr>
              </a:p>
            </p:txBody>
          </p:sp>
          <p:pic>
            <p:nvPicPr>
              <p:cNvPr id="32" name="Picture 51" descr="Picture 51">
                <a:extLst>
                  <a:ext uri="{FF2B5EF4-FFF2-40B4-BE49-F238E27FC236}">
                    <a16:creationId xmlns:a16="http://schemas.microsoft.com/office/drawing/2014/main" id="{5222A4E5-46E4-40B3-A1BC-BBCF66ADAEA5}"/>
                  </a:ext>
                </a:extLst>
              </p:cNvPr>
              <p:cNvPicPr>
                <a:picLocks noChangeAspect="1"/>
              </p:cNvPicPr>
              <p:nvPr/>
            </p:nvPicPr>
            <p:blipFill>
              <a:blip r:embed="rId7"/>
              <a:stretch>
                <a:fillRect/>
              </a:stretch>
            </p:blipFill>
            <p:spPr bwMode="gray">
              <a:xfrm>
                <a:off x="94582" y="107282"/>
                <a:ext cx="363603" cy="363601"/>
              </a:xfrm>
              <a:prstGeom prst="rect">
                <a:avLst/>
              </a:prstGeom>
              <a:ln w="12700" cap="flat">
                <a:noFill/>
                <a:miter lim="400000"/>
              </a:ln>
              <a:effectLst/>
            </p:spPr>
          </p:pic>
        </p:grpSp>
      </p:grpSp>
      <p:sp>
        <p:nvSpPr>
          <p:cNvPr id="35" name="Rechteck 57">
            <a:extLst>
              <a:ext uri="{FF2B5EF4-FFF2-40B4-BE49-F238E27FC236}">
                <a16:creationId xmlns:a16="http://schemas.microsoft.com/office/drawing/2014/main" id="{18EA3C70-48D3-4A1B-8066-2F6B5C9BFFAF}"/>
              </a:ext>
            </a:extLst>
          </p:cNvPr>
          <p:cNvSpPr txBox="1"/>
          <p:nvPr/>
        </p:nvSpPr>
        <p:spPr bwMode="gray">
          <a:xfrm>
            <a:off x="2206581" y="3262055"/>
            <a:ext cx="1801847" cy="56917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lnSpc>
                <a:spcPct val="90000"/>
              </a:lnSpc>
              <a:defRPr sz="1200">
                <a:solidFill>
                  <a:schemeClr val="accent1"/>
                </a:solidFill>
              </a:defRPr>
            </a:lvl1pPr>
          </a:lstStyle>
          <a:p>
            <a:pPr defTabSz="1218771" hangingPunct="0"/>
            <a:r>
              <a:rPr lang="es-ES" sz="1600" kern="0">
                <a:solidFill>
                  <a:srgbClr val="5F6973"/>
                </a:solidFill>
                <a:latin typeface="Segoe UI"/>
                <a:cs typeface="Segoe UI"/>
                <a:sym typeface="Segoe UI"/>
              </a:rPr>
              <a:t>Nuestra oferta actual</a:t>
            </a:r>
          </a:p>
        </p:txBody>
      </p:sp>
      <p:pic>
        <p:nvPicPr>
          <p:cNvPr id="37" name="Freihand 71" descr="Freihand 71">
            <a:extLst>
              <a:ext uri="{FF2B5EF4-FFF2-40B4-BE49-F238E27FC236}">
                <a16:creationId xmlns:a16="http://schemas.microsoft.com/office/drawing/2014/main" id="{78F45F30-DA0C-489E-866C-C369CEF5EED3}"/>
              </a:ext>
            </a:extLst>
          </p:cNvPr>
          <p:cNvPicPr>
            <a:picLocks noChangeAspect="1"/>
          </p:cNvPicPr>
          <p:nvPr/>
        </p:nvPicPr>
        <p:blipFill>
          <a:blip r:embed="rId8"/>
          <a:stretch>
            <a:fillRect/>
          </a:stretch>
        </p:blipFill>
        <p:spPr bwMode="gray">
          <a:xfrm>
            <a:off x="5789369" y="3789500"/>
            <a:ext cx="622083" cy="388323"/>
          </a:xfrm>
          <a:prstGeom prst="rect">
            <a:avLst/>
          </a:prstGeom>
          <a:ln w="12700" cap="flat">
            <a:noFill/>
            <a:miter lim="400000"/>
          </a:ln>
          <a:effectLst/>
        </p:spPr>
      </p:pic>
      <p:grpSp>
        <p:nvGrpSpPr>
          <p:cNvPr id="7" name="Gruppieren 6">
            <a:extLst>
              <a:ext uri="{FF2B5EF4-FFF2-40B4-BE49-F238E27FC236}">
                <a16:creationId xmlns:a16="http://schemas.microsoft.com/office/drawing/2014/main" id="{551FDC44-783A-4770-A98E-2F50936E3073}"/>
              </a:ext>
            </a:extLst>
          </p:cNvPr>
          <p:cNvGrpSpPr/>
          <p:nvPr/>
        </p:nvGrpSpPr>
        <p:grpSpPr bwMode="gray">
          <a:xfrm>
            <a:off x="1069821" y="4019800"/>
            <a:ext cx="1801848" cy="1743175"/>
            <a:chOff x="802366" y="3014849"/>
            <a:chExt cx="1351386" cy="1307381"/>
          </a:xfrm>
        </p:grpSpPr>
        <p:sp>
          <p:nvSpPr>
            <p:cNvPr id="16" name="Textfeld 15">
              <a:extLst>
                <a:ext uri="{FF2B5EF4-FFF2-40B4-BE49-F238E27FC236}">
                  <a16:creationId xmlns:a16="http://schemas.microsoft.com/office/drawing/2014/main" id="{40CFF910-F14E-468D-9478-998342E2C64A}"/>
                </a:ext>
              </a:extLst>
            </p:cNvPr>
            <p:cNvSpPr txBox="1"/>
            <p:nvPr/>
          </p:nvSpPr>
          <p:spPr bwMode="gray">
            <a:xfrm>
              <a:off x="848058" y="3666033"/>
              <a:ext cx="1260001" cy="2103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1400" b="1">
                  <a:solidFill>
                    <a:schemeClr val="accent1"/>
                  </a:solidFill>
                </a:defRPr>
              </a:lvl1pPr>
            </a:lstStyle>
            <a:p>
              <a:pPr defTabSz="1219140" hangingPunct="0"/>
              <a:r>
                <a:rPr lang="es-ES" sz="1867" kern="0">
                  <a:solidFill>
                    <a:srgbClr val="5F6973"/>
                  </a:solidFill>
                  <a:latin typeface="Segoe UI"/>
                  <a:cs typeface="Segoe UI"/>
                  <a:sym typeface="Segoe UI"/>
                </a:rPr>
                <a:t>Reactivo</a:t>
              </a:r>
            </a:p>
          </p:txBody>
        </p:sp>
        <p:sp>
          <p:nvSpPr>
            <p:cNvPr id="17" name="Straight Connector 31">
              <a:extLst>
                <a:ext uri="{FF2B5EF4-FFF2-40B4-BE49-F238E27FC236}">
                  <a16:creationId xmlns:a16="http://schemas.microsoft.com/office/drawing/2014/main" id="{F0BE61A4-3EEA-4DD1-9845-63BD7C14CFBD}"/>
                </a:ext>
              </a:extLst>
            </p:cNvPr>
            <p:cNvSpPr/>
            <p:nvPr/>
          </p:nvSpPr>
          <p:spPr bwMode="gray">
            <a:xfrm>
              <a:off x="866059" y="3928989"/>
              <a:ext cx="1224000" cy="0"/>
            </a:xfrm>
            <a:prstGeom prst="line">
              <a:avLst/>
            </a:prstGeom>
            <a:solidFill>
              <a:srgbClr val="FFFFFF"/>
            </a:solidFill>
            <a:ln w="12700" cap="flat">
              <a:solidFill>
                <a:schemeClr val="accent1"/>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18" name="Textfeld 15">
              <a:extLst>
                <a:ext uri="{FF2B5EF4-FFF2-40B4-BE49-F238E27FC236}">
                  <a16:creationId xmlns:a16="http://schemas.microsoft.com/office/drawing/2014/main" id="{22F7ED60-A3FB-471F-8277-B648F3DBCB7C}"/>
                </a:ext>
              </a:extLst>
            </p:cNvPr>
            <p:cNvSpPr txBox="1"/>
            <p:nvPr/>
          </p:nvSpPr>
          <p:spPr bwMode="gray">
            <a:xfrm>
              <a:off x="802366" y="3983579"/>
              <a:ext cx="1351386" cy="33865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378">
                <a:spcBef>
                  <a:spcPts val="600"/>
                </a:spcBef>
                <a:defRPr sz="1100"/>
              </a:lvl1pPr>
            </a:lstStyle>
            <a:p>
              <a:pPr defTabSz="1219140" hangingPunct="0">
                <a:spcBef>
                  <a:spcPts val="800"/>
                </a:spcBef>
              </a:pPr>
              <a:r>
                <a:rPr lang="es-ES" sz="1467" kern="0">
                  <a:solidFill>
                    <a:srgbClr val="000000"/>
                  </a:solidFill>
                  <a:latin typeface="Segoe UI"/>
                  <a:cs typeface="Segoe UI"/>
                  <a:sym typeface="Segoe UI"/>
                </a:rPr>
                <a:t>“Reparar después del fallo”</a:t>
              </a:r>
            </a:p>
          </p:txBody>
        </p:sp>
        <p:sp>
          <p:nvSpPr>
            <p:cNvPr id="28" name="Oval 34">
              <a:extLst>
                <a:ext uri="{FF2B5EF4-FFF2-40B4-BE49-F238E27FC236}">
                  <a16:creationId xmlns:a16="http://schemas.microsoft.com/office/drawing/2014/main" id="{90B38936-F25D-4B02-BCD6-51CCE485E6A9}"/>
                </a:ext>
              </a:extLst>
            </p:cNvPr>
            <p:cNvSpPr/>
            <p:nvPr/>
          </p:nvSpPr>
          <p:spPr bwMode="gray">
            <a:xfrm>
              <a:off x="1201673" y="3014849"/>
              <a:ext cx="552772" cy="552770"/>
            </a:xfrm>
            <a:prstGeom prst="ellipse">
              <a:avLst/>
            </a:prstGeom>
            <a:solidFill>
              <a:srgbClr val="FFFFFF"/>
            </a:solidFill>
            <a:ln w="12700" cap="flat">
              <a:solidFill>
                <a:schemeClr val="accent1"/>
              </a:solidFill>
              <a:prstDash val="solid"/>
              <a:round/>
            </a:ln>
            <a:effectLst/>
          </p:spPr>
          <p:txBody>
            <a:bodyPr wrap="square" lIns="62399" tIns="62399" rIns="62399" bIns="62399" numCol="1" anchor="t">
              <a:noAutofit/>
            </a:bodyPr>
            <a:lstStyle/>
            <a:p>
              <a:pPr defTabSz="1219140" hangingPunct="0">
                <a:lnSpc>
                  <a:spcPct val="104999"/>
                </a:lnSpc>
              </a:pPr>
              <a:endParaRPr lang="en-US" sz="2400" kern="0">
                <a:solidFill>
                  <a:srgbClr val="000000"/>
                </a:solidFill>
                <a:latin typeface="Segoe UI"/>
                <a:cs typeface="Segoe UI"/>
                <a:sym typeface="Segoe UI"/>
              </a:endParaRPr>
            </a:p>
          </p:txBody>
        </p:sp>
        <p:pic>
          <p:nvPicPr>
            <p:cNvPr id="39" name="Grafik 38" descr="Tools mit einfarbiger Füllung">
              <a:extLst>
                <a:ext uri="{FF2B5EF4-FFF2-40B4-BE49-F238E27FC236}">
                  <a16:creationId xmlns:a16="http://schemas.microsoft.com/office/drawing/2014/main" id="{F329C739-1CE7-47E1-A477-2AB1C16595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gray">
            <a:xfrm>
              <a:off x="1270693" y="3087039"/>
              <a:ext cx="414732" cy="414732"/>
            </a:xfrm>
            <a:prstGeom prst="rect">
              <a:avLst/>
            </a:prstGeom>
          </p:spPr>
        </p:pic>
      </p:grpSp>
      <p:grpSp>
        <p:nvGrpSpPr>
          <p:cNvPr id="6" name="Gruppieren 5">
            <a:extLst>
              <a:ext uri="{FF2B5EF4-FFF2-40B4-BE49-F238E27FC236}">
                <a16:creationId xmlns:a16="http://schemas.microsoft.com/office/drawing/2014/main" id="{65A3EA0E-618D-454D-861B-A9FE479AB996}"/>
              </a:ext>
            </a:extLst>
          </p:cNvPr>
          <p:cNvGrpSpPr/>
          <p:nvPr/>
        </p:nvGrpSpPr>
        <p:grpSpPr bwMode="gray">
          <a:xfrm>
            <a:off x="3930161" y="3516707"/>
            <a:ext cx="1680001" cy="1726010"/>
            <a:chOff x="2403873" y="2637530"/>
            <a:chExt cx="1260001" cy="1294508"/>
          </a:xfrm>
        </p:grpSpPr>
        <p:sp>
          <p:nvSpPr>
            <p:cNvPr id="19" name="Textfeld 16">
              <a:extLst>
                <a:ext uri="{FF2B5EF4-FFF2-40B4-BE49-F238E27FC236}">
                  <a16:creationId xmlns:a16="http://schemas.microsoft.com/office/drawing/2014/main" id="{E281FEBA-D3A6-4ACE-AC01-57607A1045C2}"/>
                </a:ext>
              </a:extLst>
            </p:cNvPr>
            <p:cNvSpPr txBox="1"/>
            <p:nvPr/>
          </p:nvSpPr>
          <p:spPr bwMode="gray">
            <a:xfrm>
              <a:off x="2403873" y="3282518"/>
              <a:ext cx="1260001" cy="2103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1400" b="1">
                  <a:solidFill>
                    <a:schemeClr val="accent1"/>
                  </a:solidFill>
                </a:defRPr>
              </a:lvl1pPr>
            </a:lstStyle>
            <a:p>
              <a:pPr defTabSz="1219140" hangingPunct="0"/>
              <a:r>
                <a:rPr lang="es-ES" sz="1867" kern="0">
                  <a:solidFill>
                    <a:srgbClr val="5F6973"/>
                  </a:solidFill>
                  <a:latin typeface="Segoe UI"/>
                  <a:cs typeface="Segoe UI"/>
                  <a:sym typeface="Segoe UI"/>
                </a:rPr>
                <a:t>Preventivo</a:t>
              </a:r>
            </a:p>
          </p:txBody>
        </p:sp>
        <p:sp>
          <p:nvSpPr>
            <p:cNvPr id="20" name="Straight Connector 37">
              <a:extLst>
                <a:ext uri="{FF2B5EF4-FFF2-40B4-BE49-F238E27FC236}">
                  <a16:creationId xmlns:a16="http://schemas.microsoft.com/office/drawing/2014/main" id="{E32A8F0A-B7A7-4E5F-8C8F-52342AF269FA}"/>
                </a:ext>
              </a:extLst>
            </p:cNvPr>
            <p:cNvSpPr/>
            <p:nvPr/>
          </p:nvSpPr>
          <p:spPr bwMode="gray">
            <a:xfrm>
              <a:off x="2421873" y="3544659"/>
              <a:ext cx="1224000" cy="0"/>
            </a:xfrm>
            <a:prstGeom prst="line">
              <a:avLst/>
            </a:prstGeom>
            <a:solidFill>
              <a:srgbClr val="FFFFFF"/>
            </a:solidFill>
            <a:ln w="12700" cap="flat">
              <a:solidFill>
                <a:schemeClr val="accent1"/>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21" name="Textfeld 16">
              <a:extLst>
                <a:ext uri="{FF2B5EF4-FFF2-40B4-BE49-F238E27FC236}">
                  <a16:creationId xmlns:a16="http://schemas.microsoft.com/office/drawing/2014/main" id="{14B3F174-EB09-4711-AC47-65B98BA9AF72}"/>
                </a:ext>
              </a:extLst>
            </p:cNvPr>
            <p:cNvSpPr txBox="1"/>
            <p:nvPr/>
          </p:nvSpPr>
          <p:spPr bwMode="gray">
            <a:xfrm>
              <a:off x="2403873" y="3593387"/>
              <a:ext cx="1260001" cy="33865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378">
                <a:spcBef>
                  <a:spcPts val="600"/>
                </a:spcBef>
                <a:defRPr sz="1100"/>
              </a:lvl1pPr>
            </a:lstStyle>
            <a:p>
              <a:pPr defTabSz="1219140" hangingPunct="0">
                <a:spcBef>
                  <a:spcPts val="800"/>
                </a:spcBef>
              </a:pPr>
              <a:r>
                <a:rPr lang="es-ES" sz="1467" kern="0">
                  <a:solidFill>
                    <a:srgbClr val="000000"/>
                  </a:solidFill>
                  <a:latin typeface="Segoe UI"/>
                  <a:cs typeface="Segoe UI"/>
                  <a:sym typeface="Segoe UI"/>
                </a:rPr>
                <a:t>“Proteger del descuido”</a:t>
              </a:r>
            </a:p>
          </p:txBody>
        </p:sp>
        <p:sp>
          <p:nvSpPr>
            <p:cNvPr id="29" name="Oval 40">
              <a:extLst>
                <a:ext uri="{FF2B5EF4-FFF2-40B4-BE49-F238E27FC236}">
                  <a16:creationId xmlns:a16="http://schemas.microsoft.com/office/drawing/2014/main" id="{B5C8A82F-428C-4F97-B9D5-EC178938EB39}"/>
                </a:ext>
              </a:extLst>
            </p:cNvPr>
            <p:cNvSpPr/>
            <p:nvPr/>
          </p:nvSpPr>
          <p:spPr bwMode="gray">
            <a:xfrm>
              <a:off x="2757487" y="2637530"/>
              <a:ext cx="552772" cy="552770"/>
            </a:xfrm>
            <a:prstGeom prst="ellipse">
              <a:avLst/>
            </a:prstGeom>
            <a:solidFill>
              <a:srgbClr val="FFFFFF"/>
            </a:solidFill>
            <a:ln w="12700" cap="flat">
              <a:solidFill>
                <a:schemeClr val="accent1"/>
              </a:solidFill>
              <a:prstDash val="solid"/>
              <a:round/>
            </a:ln>
            <a:effectLst/>
          </p:spPr>
          <p:txBody>
            <a:bodyPr wrap="square" lIns="62399" tIns="62399" rIns="62399" bIns="62399" numCol="1" anchor="t">
              <a:noAutofit/>
            </a:bodyPr>
            <a:lstStyle/>
            <a:p>
              <a:pPr defTabSz="1219140" hangingPunct="0">
                <a:lnSpc>
                  <a:spcPct val="104999"/>
                </a:lnSpc>
              </a:pPr>
              <a:endParaRPr lang="en-US" sz="2400" kern="0">
                <a:solidFill>
                  <a:srgbClr val="000000"/>
                </a:solidFill>
                <a:latin typeface="Segoe UI"/>
                <a:cs typeface="Segoe UI"/>
                <a:sym typeface="Segoe UI"/>
              </a:endParaRPr>
            </a:p>
          </p:txBody>
        </p:sp>
        <p:pic>
          <p:nvPicPr>
            <p:cNvPr id="40" name="Grafik 39" descr="Zukunft mit einfarbiger Füllung">
              <a:extLst>
                <a:ext uri="{FF2B5EF4-FFF2-40B4-BE49-F238E27FC236}">
                  <a16:creationId xmlns:a16="http://schemas.microsoft.com/office/drawing/2014/main" id="{E2B07424-346D-4C6F-90F5-4CF6CF1461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gray">
            <a:xfrm>
              <a:off x="2793703" y="2676033"/>
              <a:ext cx="480340" cy="480340"/>
            </a:xfrm>
            <a:prstGeom prst="rect">
              <a:avLst/>
            </a:prstGeom>
          </p:spPr>
        </p:pic>
      </p:grpSp>
      <p:grpSp>
        <p:nvGrpSpPr>
          <p:cNvPr id="9" name="Gruppieren 8">
            <a:extLst>
              <a:ext uri="{FF2B5EF4-FFF2-40B4-BE49-F238E27FC236}">
                <a16:creationId xmlns:a16="http://schemas.microsoft.com/office/drawing/2014/main" id="{CF2D61AA-BBCC-4E04-BF37-9BB2E241B7BF}"/>
              </a:ext>
            </a:extLst>
          </p:cNvPr>
          <p:cNvGrpSpPr/>
          <p:nvPr/>
        </p:nvGrpSpPr>
        <p:grpSpPr bwMode="gray">
          <a:xfrm>
            <a:off x="3028176" y="3961256"/>
            <a:ext cx="685589" cy="644688"/>
            <a:chOff x="1962077" y="2970942"/>
            <a:chExt cx="514192" cy="483516"/>
          </a:xfrm>
        </p:grpSpPr>
        <p:pic>
          <p:nvPicPr>
            <p:cNvPr id="36" name="Freihand 70" descr="Freihand 70">
              <a:extLst>
                <a:ext uri="{FF2B5EF4-FFF2-40B4-BE49-F238E27FC236}">
                  <a16:creationId xmlns:a16="http://schemas.microsoft.com/office/drawing/2014/main" id="{2DC1C41C-75F3-41F5-90AE-426C8144D7A3}"/>
                </a:ext>
              </a:extLst>
            </p:cNvPr>
            <p:cNvPicPr>
              <a:picLocks noChangeAspect="1"/>
            </p:cNvPicPr>
            <p:nvPr/>
          </p:nvPicPr>
          <p:blipFill>
            <a:blip r:embed="rId13"/>
            <a:stretch>
              <a:fillRect/>
            </a:stretch>
          </p:blipFill>
          <p:spPr bwMode="gray">
            <a:xfrm>
              <a:off x="1964347" y="3114256"/>
              <a:ext cx="511922" cy="340202"/>
            </a:xfrm>
            <a:prstGeom prst="rect">
              <a:avLst/>
            </a:prstGeom>
            <a:ln w="12700" cap="flat">
              <a:noFill/>
              <a:miter lim="400000"/>
            </a:ln>
            <a:effectLst/>
          </p:spPr>
        </p:pic>
        <mc:AlternateContent xmlns:mc="http://schemas.openxmlformats.org/markup-compatibility/2006" xmlns:p14="http://schemas.microsoft.com/office/powerpoint/2010/main">
          <mc:Choice Requires="p14">
            <p:contentPart p14:bwMode="gray" r:id="rId14">
              <p14:nvContentPartPr>
                <p14:cNvPr id="41" name="Freihand 40">
                  <a:extLst>
                    <a:ext uri="{FF2B5EF4-FFF2-40B4-BE49-F238E27FC236}">
                      <a16:creationId xmlns:a16="http://schemas.microsoft.com/office/drawing/2014/main" id="{A16298AA-573C-487B-ACCF-18EC7DC7FE72}"/>
                    </a:ext>
                  </a:extLst>
                </p14:cNvPr>
                <p14:cNvContentPartPr/>
                <p14:nvPr/>
              </p14:nvContentPartPr>
              <p14:xfrm>
                <a:off x="1962077" y="2970942"/>
                <a:ext cx="225720" cy="290520"/>
              </p14:xfrm>
            </p:contentPart>
          </mc:Choice>
          <mc:Fallback xmlns="">
            <p:pic>
              <p:nvPicPr>
                <p:cNvPr id="41" name="Freihand 40">
                  <a:extLst>
                    <a:ext uri="{FF2B5EF4-FFF2-40B4-BE49-F238E27FC236}">
                      <a16:creationId xmlns:a16="http://schemas.microsoft.com/office/drawing/2014/main" id="{A16298AA-573C-487B-ACCF-18EC7DC7FE72}"/>
                    </a:ext>
                  </a:extLst>
                </p:cNvPr>
                <p:cNvPicPr/>
                <p:nvPr/>
              </p:nvPicPr>
              <p:blipFill>
                <a:blip r:embed="rId15"/>
                <a:stretch>
                  <a:fillRect/>
                </a:stretch>
              </p:blipFill>
              <p:spPr>
                <a:xfrm>
                  <a:off x="1953063" y="2961942"/>
                  <a:ext cx="243388" cy="308160"/>
                </a:xfrm>
                <a:prstGeom prst="rect">
                  <a:avLst/>
                </a:prstGeom>
              </p:spPr>
            </p:pic>
          </mc:Fallback>
        </mc:AlternateContent>
      </p:grpSp>
      <mc:AlternateContent xmlns:mc="http://schemas.openxmlformats.org/markup-compatibility/2006" xmlns:p14="http://schemas.microsoft.com/office/powerpoint/2010/main">
        <mc:Choice Requires="p14">
          <p:contentPart p14:bwMode="gray" r:id="rId16">
            <p14:nvContentPartPr>
              <p14:cNvPr id="42" name="Freihand 41">
                <a:extLst>
                  <a:ext uri="{FF2B5EF4-FFF2-40B4-BE49-F238E27FC236}">
                    <a16:creationId xmlns:a16="http://schemas.microsoft.com/office/drawing/2014/main" id="{42D18DF4-B501-4410-B9EE-94AF3B88289F}"/>
                  </a:ext>
                </a:extLst>
              </p14:cNvPr>
              <p14:cNvContentPartPr/>
              <p14:nvPr/>
            </p14:nvContentPartPr>
            <p14:xfrm>
              <a:off x="5799451" y="3549355"/>
              <a:ext cx="300960" cy="387360"/>
            </p14:xfrm>
          </p:contentPart>
        </mc:Choice>
        <mc:Fallback xmlns="">
          <p:pic>
            <p:nvPicPr>
              <p:cNvPr id="42" name="Freihand 41">
                <a:extLst>
                  <a:ext uri="{FF2B5EF4-FFF2-40B4-BE49-F238E27FC236}">
                    <a16:creationId xmlns:a16="http://schemas.microsoft.com/office/drawing/2014/main" id="{42D18DF4-B501-4410-B9EE-94AF3B88289F}"/>
                  </a:ext>
                </a:extLst>
              </p:cNvPr>
              <p:cNvPicPr/>
              <p:nvPr/>
            </p:nvPicPr>
            <p:blipFill>
              <a:blip r:embed="rId17"/>
              <a:stretch>
                <a:fillRect/>
              </a:stretch>
            </p:blipFill>
            <p:spPr>
              <a:xfrm>
                <a:off x="5790429" y="3540355"/>
                <a:ext cx="318642" cy="405000"/>
              </a:xfrm>
              <a:prstGeom prst="rect">
                <a:avLst/>
              </a:prstGeom>
            </p:spPr>
          </p:pic>
        </mc:Fallback>
      </mc:AlternateContent>
      <p:grpSp>
        <p:nvGrpSpPr>
          <p:cNvPr id="8" name="Gruppieren 7">
            <a:extLst>
              <a:ext uri="{FF2B5EF4-FFF2-40B4-BE49-F238E27FC236}">
                <a16:creationId xmlns:a16="http://schemas.microsoft.com/office/drawing/2014/main" id="{471C794F-BA5E-4053-834A-BF96D7F735BA}"/>
              </a:ext>
            </a:extLst>
          </p:cNvPr>
          <p:cNvGrpSpPr/>
          <p:nvPr/>
        </p:nvGrpSpPr>
        <p:grpSpPr bwMode="gray">
          <a:xfrm>
            <a:off x="8515393" y="2931192"/>
            <a:ext cx="630243" cy="618163"/>
            <a:chOff x="5106965" y="2198394"/>
            <a:chExt cx="472682" cy="463622"/>
          </a:xfrm>
        </p:grpSpPr>
        <p:pic>
          <p:nvPicPr>
            <p:cNvPr id="38" name="Freihand 72" descr="Freihand 72">
              <a:extLst>
                <a:ext uri="{FF2B5EF4-FFF2-40B4-BE49-F238E27FC236}">
                  <a16:creationId xmlns:a16="http://schemas.microsoft.com/office/drawing/2014/main" id="{A668529D-66F8-41BD-932B-5DFF80BC7B6C}"/>
                </a:ext>
              </a:extLst>
            </p:cNvPr>
            <p:cNvPicPr>
              <a:picLocks noChangeAspect="1"/>
            </p:cNvPicPr>
            <p:nvPr/>
          </p:nvPicPr>
          <p:blipFill>
            <a:blip r:embed="rId18"/>
            <a:stretch>
              <a:fillRect/>
            </a:stretch>
          </p:blipFill>
          <p:spPr bwMode="gray">
            <a:xfrm>
              <a:off x="5106965" y="2381574"/>
              <a:ext cx="472682" cy="280442"/>
            </a:xfrm>
            <a:prstGeom prst="rect">
              <a:avLst/>
            </a:prstGeom>
            <a:ln w="12700" cap="flat">
              <a:noFill/>
              <a:miter lim="400000"/>
            </a:ln>
            <a:effectLst/>
          </p:spPr>
        </p:pic>
        <mc:AlternateContent xmlns:mc="http://schemas.openxmlformats.org/markup-compatibility/2006" xmlns:p14="http://schemas.microsoft.com/office/powerpoint/2010/main">
          <mc:Choice Requires="p14">
            <p:contentPart p14:bwMode="gray" r:id="rId19">
              <p14:nvContentPartPr>
                <p14:cNvPr id="43" name="Freihand 42">
                  <a:extLst>
                    <a:ext uri="{FF2B5EF4-FFF2-40B4-BE49-F238E27FC236}">
                      <a16:creationId xmlns:a16="http://schemas.microsoft.com/office/drawing/2014/main" id="{DE9F1F48-5A8F-411F-BED8-76FDFB5AE84D}"/>
                    </a:ext>
                  </a:extLst>
                </p14:cNvPr>
                <p14:cNvContentPartPr/>
                <p14:nvPr/>
              </p14:nvContentPartPr>
              <p14:xfrm>
                <a:off x="5135979" y="2198394"/>
                <a:ext cx="225720" cy="290520"/>
              </p14:xfrm>
            </p:contentPart>
          </mc:Choice>
          <mc:Fallback xmlns="">
            <p:pic>
              <p:nvPicPr>
                <p:cNvPr id="43" name="Freihand 42">
                  <a:extLst>
                    <a:ext uri="{FF2B5EF4-FFF2-40B4-BE49-F238E27FC236}">
                      <a16:creationId xmlns:a16="http://schemas.microsoft.com/office/drawing/2014/main" id="{DE9F1F48-5A8F-411F-BED8-76FDFB5AE84D}"/>
                    </a:ext>
                  </a:extLst>
                </p:cNvPr>
                <p:cNvPicPr/>
                <p:nvPr/>
              </p:nvPicPr>
              <p:blipFill>
                <a:blip r:embed="rId20"/>
                <a:stretch>
                  <a:fillRect/>
                </a:stretch>
              </p:blipFill>
              <p:spPr>
                <a:xfrm>
                  <a:off x="5126965" y="2189394"/>
                  <a:ext cx="243388" cy="308160"/>
                </a:xfrm>
                <a:prstGeom prst="rect">
                  <a:avLst/>
                </a:prstGeom>
              </p:spPr>
            </p:pic>
          </mc:Fallback>
        </mc:AlternateContent>
      </p:grpSp>
      <p:sp>
        <p:nvSpPr>
          <p:cNvPr id="45" name="ZoneTexte 39">
            <a:extLst>
              <a:ext uri="{FF2B5EF4-FFF2-40B4-BE49-F238E27FC236}">
                <a16:creationId xmlns:a16="http://schemas.microsoft.com/office/drawing/2014/main" id="{8321FA53-1389-46F5-806F-FEE613E201A9}"/>
              </a:ext>
            </a:extLst>
          </p:cNvPr>
          <p:cNvSpPr txBox="1"/>
          <p:nvPr/>
        </p:nvSpPr>
        <p:spPr bwMode="gray">
          <a:xfrm>
            <a:off x="6484871" y="1858214"/>
            <a:ext cx="5040000" cy="410431"/>
          </a:xfrm>
          <a:prstGeom prst="rect">
            <a:avLst/>
          </a:prstGeom>
          <a:solidFill>
            <a:srgbClr val="E10413"/>
          </a:solidFill>
          <a:ln w="12700" cap="sq">
            <a:solidFill>
              <a:srgbClr val="E1041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1219170" hangingPunct="0"/>
            <a:r>
              <a:rPr lang="es-ES" sz="1867" kern="0">
                <a:solidFill>
                  <a:srgbClr val="FFFFFF"/>
                </a:solidFill>
                <a:latin typeface="Segoe UI"/>
                <a:ea typeface="Segoe UI"/>
                <a:cs typeface="Segoe UI"/>
                <a:sym typeface="Segoe UI"/>
              </a:rPr>
              <a:t>Nuestra nueva oferta</a:t>
            </a:r>
          </a:p>
        </p:txBody>
      </p:sp>
      <p:grpSp>
        <p:nvGrpSpPr>
          <p:cNvPr id="5" name="Gruppieren 4">
            <a:extLst>
              <a:ext uri="{FF2B5EF4-FFF2-40B4-BE49-F238E27FC236}">
                <a16:creationId xmlns:a16="http://schemas.microsoft.com/office/drawing/2014/main" id="{9C34FF53-1D95-43B3-9E72-3369B8565947}"/>
              </a:ext>
            </a:extLst>
          </p:cNvPr>
          <p:cNvGrpSpPr/>
          <p:nvPr/>
        </p:nvGrpSpPr>
        <p:grpSpPr bwMode="gray">
          <a:xfrm>
            <a:off x="6668653" y="2981738"/>
            <a:ext cx="1668489" cy="2014266"/>
            <a:chOff x="3985008" y="2236302"/>
            <a:chExt cx="1251367" cy="1510699"/>
          </a:xfrm>
        </p:grpSpPr>
        <p:sp>
          <p:nvSpPr>
            <p:cNvPr id="25" name="Textfeld 17">
              <a:extLst>
                <a:ext uri="{FF2B5EF4-FFF2-40B4-BE49-F238E27FC236}">
                  <a16:creationId xmlns:a16="http://schemas.microsoft.com/office/drawing/2014/main" id="{79217488-AFBD-4FBD-B825-F0951A053FF1}"/>
                </a:ext>
              </a:extLst>
            </p:cNvPr>
            <p:cNvSpPr txBox="1"/>
            <p:nvPr/>
          </p:nvSpPr>
          <p:spPr bwMode="gray">
            <a:xfrm>
              <a:off x="3985009" y="2928155"/>
              <a:ext cx="1251366" cy="2103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lgn="ctr" defTabSz="914378">
                <a:lnSpc>
                  <a:spcPct val="104999"/>
                </a:lnSpc>
                <a:defRPr sz="1400" b="1">
                  <a:solidFill>
                    <a:srgbClr val="E1000F"/>
                  </a:solidFill>
                </a:defRPr>
              </a:lvl1pPr>
            </a:lstStyle>
            <a:p>
              <a:pPr defTabSz="1219140" hangingPunct="0"/>
              <a:r>
                <a:rPr lang="es-ES" sz="1867" kern="0">
                  <a:latin typeface="Segoe UI"/>
                  <a:cs typeface="Segoe UI"/>
                  <a:sym typeface="Segoe UI"/>
                </a:rPr>
                <a:t>Predictivo</a:t>
              </a:r>
            </a:p>
          </p:txBody>
        </p:sp>
        <p:sp>
          <p:nvSpPr>
            <p:cNvPr id="26" name="Straight Connector 53">
              <a:extLst>
                <a:ext uri="{FF2B5EF4-FFF2-40B4-BE49-F238E27FC236}">
                  <a16:creationId xmlns:a16="http://schemas.microsoft.com/office/drawing/2014/main" id="{8BACF40E-E636-44BF-A4CC-A4396D99BE82}"/>
                </a:ext>
              </a:extLst>
            </p:cNvPr>
            <p:cNvSpPr/>
            <p:nvPr/>
          </p:nvSpPr>
          <p:spPr bwMode="gray">
            <a:xfrm>
              <a:off x="3998692" y="3190295"/>
              <a:ext cx="1224000" cy="0"/>
            </a:xfrm>
            <a:prstGeom prst="line">
              <a:avLst/>
            </a:prstGeom>
            <a:solidFill>
              <a:srgbClr val="FFFFFF"/>
            </a:solidFill>
            <a:ln w="12700" cap="flat">
              <a:solidFill>
                <a:srgbClr val="E1000F"/>
              </a:solidFill>
              <a:prstDash val="solid"/>
              <a:round/>
            </a:ln>
            <a:effectLst/>
          </p:spPr>
          <p:txBody>
            <a:bodyPr wrap="square" lIns="60959" tIns="60959" rIns="60959" bIns="60959" numCol="1" anchor="t">
              <a:noAutofit/>
            </a:bodyPr>
            <a:lstStyle/>
            <a:p>
              <a:pPr defTabSz="1219170" hangingPunct="0"/>
              <a:endParaRPr lang="en-US" sz="2400" kern="0">
                <a:solidFill>
                  <a:srgbClr val="000000"/>
                </a:solidFill>
                <a:latin typeface="Segoe UI"/>
                <a:cs typeface="Segoe UI"/>
                <a:sym typeface="Segoe UI"/>
              </a:endParaRPr>
            </a:p>
          </p:txBody>
        </p:sp>
        <p:sp>
          <p:nvSpPr>
            <p:cNvPr id="27" name="Textfeld 17">
              <a:extLst>
                <a:ext uri="{FF2B5EF4-FFF2-40B4-BE49-F238E27FC236}">
                  <a16:creationId xmlns:a16="http://schemas.microsoft.com/office/drawing/2014/main" id="{D31CEEA2-5389-47FD-8465-961187C8B9ED}"/>
                </a:ext>
              </a:extLst>
            </p:cNvPr>
            <p:cNvSpPr txBox="1"/>
            <p:nvPr/>
          </p:nvSpPr>
          <p:spPr bwMode="gray">
            <a:xfrm>
              <a:off x="3985008" y="3239025"/>
              <a:ext cx="1251365" cy="5079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lgn="ctr" defTabSz="914378">
                <a:spcBef>
                  <a:spcPts val="600"/>
                </a:spcBef>
                <a:defRPr sz="1100"/>
              </a:lvl1pPr>
            </a:lstStyle>
            <a:p>
              <a:pPr defTabSz="1219140" hangingPunct="0">
                <a:spcBef>
                  <a:spcPts val="800"/>
                </a:spcBef>
              </a:pPr>
              <a:r>
                <a:rPr lang="es-ES" sz="1467" kern="0">
                  <a:solidFill>
                    <a:srgbClr val="000000"/>
                  </a:solidFill>
                  <a:latin typeface="Segoe UI"/>
                  <a:cs typeface="Segoe UI"/>
                  <a:sym typeface="Segoe UI"/>
                </a:rPr>
                <a:t>“Reemplazar antes de que se produzcan fallos”</a:t>
              </a:r>
            </a:p>
          </p:txBody>
        </p:sp>
        <p:sp>
          <p:nvSpPr>
            <p:cNvPr id="33" name="Oval 56">
              <a:extLst>
                <a:ext uri="{FF2B5EF4-FFF2-40B4-BE49-F238E27FC236}">
                  <a16:creationId xmlns:a16="http://schemas.microsoft.com/office/drawing/2014/main" id="{B784F723-BE23-45FA-B1F7-5BE8F3A88F16}"/>
                </a:ext>
              </a:extLst>
            </p:cNvPr>
            <p:cNvSpPr/>
            <p:nvPr/>
          </p:nvSpPr>
          <p:spPr bwMode="gray">
            <a:xfrm>
              <a:off x="4325195" y="2236302"/>
              <a:ext cx="570991" cy="570987"/>
            </a:xfrm>
            <a:prstGeom prst="ellipse">
              <a:avLst/>
            </a:prstGeom>
            <a:solidFill>
              <a:srgbClr val="FFFFFF"/>
            </a:solidFill>
            <a:ln w="12700" cap="flat">
              <a:solidFill>
                <a:srgbClr val="D10008"/>
              </a:solidFill>
              <a:prstDash val="solid"/>
              <a:round/>
            </a:ln>
            <a:effectLst/>
          </p:spPr>
          <p:txBody>
            <a:bodyPr wrap="square" lIns="62399" tIns="62399" rIns="62399" bIns="62399" numCol="1" anchor="t">
              <a:noAutofit/>
            </a:bodyPr>
            <a:lstStyle/>
            <a:p>
              <a:pPr defTabSz="1219140" hangingPunct="0">
                <a:lnSpc>
                  <a:spcPct val="104999"/>
                </a:lnSpc>
              </a:pPr>
              <a:endParaRPr lang="en-US" sz="2400" kern="0">
                <a:solidFill>
                  <a:srgbClr val="000000"/>
                </a:solidFill>
                <a:latin typeface="Segoe UI"/>
                <a:cs typeface="Segoe UI"/>
                <a:sym typeface="Segoe UI"/>
              </a:endParaRPr>
            </a:p>
          </p:txBody>
        </p:sp>
        <p:sp>
          <p:nvSpPr>
            <p:cNvPr id="34" name="Rectangle 58">
              <a:extLst>
                <a:ext uri="{FF2B5EF4-FFF2-40B4-BE49-F238E27FC236}">
                  <a16:creationId xmlns:a16="http://schemas.microsoft.com/office/drawing/2014/main" id="{EA4595F4-A58F-461E-8383-B3CB1CC94A7F}"/>
                </a:ext>
              </a:extLst>
            </p:cNvPr>
            <p:cNvSpPr/>
            <p:nvPr/>
          </p:nvSpPr>
          <p:spPr bwMode="gray">
            <a:xfrm>
              <a:off x="4569648" y="2428088"/>
              <a:ext cx="82087" cy="50678"/>
            </a:xfrm>
            <a:prstGeom prst="rect">
              <a:avLst/>
            </a:prstGeom>
            <a:solidFill>
              <a:srgbClr val="FFFFFF"/>
            </a:solidFill>
            <a:ln w="12700" cap="flat">
              <a:noFill/>
              <a:miter lim="400000"/>
            </a:ln>
            <a:effectLst/>
          </p:spPr>
          <p:txBody>
            <a:bodyPr wrap="square" lIns="62399" tIns="62399" rIns="62399" bIns="62399" numCol="1" anchor="t">
              <a:noAutofit/>
            </a:bodyPr>
            <a:lstStyle/>
            <a:p>
              <a:pPr defTabSz="1219140" hangingPunct="0">
                <a:lnSpc>
                  <a:spcPct val="104999"/>
                </a:lnSpc>
              </a:pPr>
              <a:endParaRPr lang="en-US" sz="2400" kern="0">
                <a:solidFill>
                  <a:srgbClr val="000000"/>
                </a:solidFill>
                <a:latin typeface="Segoe UI"/>
                <a:cs typeface="Segoe UI"/>
                <a:sym typeface="Segoe UI"/>
              </a:endParaRPr>
            </a:p>
          </p:txBody>
        </p:sp>
        <p:pic>
          <p:nvPicPr>
            <p:cNvPr id="47" name="Image 19">
              <a:extLst>
                <a:ext uri="{FF2B5EF4-FFF2-40B4-BE49-F238E27FC236}">
                  <a16:creationId xmlns:a16="http://schemas.microsoft.com/office/drawing/2014/main" id="{D4BDB1AF-F75D-4F71-A888-F17D5061C64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bwMode="gray">
            <a:xfrm>
              <a:off x="4386301" y="2329630"/>
              <a:ext cx="448781" cy="448781"/>
            </a:xfrm>
            <a:prstGeom prst="rect">
              <a:avLst/>
            </a:prstGeom>
          </p:spPr>
        </p:pic>
        <p:grpSp>
          <p:nvGrpSpPr>
            <p:cNvPr id="48" name="Grafik 2" descr="WLAN Silhouette">
              <a:extLst>
                <a:ext uri="{FF2B5EF4-FFF2-40B4-BE49-F238E27FC236}">
                  <a16:creationId xmlns:a16="http://schemas.microsoft.com/office/drawing/2014/main" id="{3218120C-39CC-4BE6-9BC2-A392155321EE}"/>
                </a:ext>
              </a:extLst>
            </p:cNvPr>
            <p:cNvGrpSpPr/>
            <p:nvPr/>
          </p:nvGrpSpPr>
          <p:grpSpPr bwMode="gray">
            <a:xfrm>
              <a:off x="4500534" y="2332877"/>
              <a:ext cx="220314" cy="109465"/>
              <a:chOff x="5273896" y="2147215"/>
              <a:chExt cx="465318" cy="231196"/>
            </a:xfrm>
            <a:solidFill>
              <a:srgbClr val="000000"/>
            </a:solidFill>
          </p:grpSpPr>
          <p:sp>
            <p:nvSpPr>
              <p:cNvPr id="49" name="Freihandform: Form 48">
                <a:extLst>
                  <a:ext uri="{FF2B5EF4-FFF2-40B4-BE49-F238E27FC236}">
                    <a16:creationId xmlns:a16="http://schemas.microsoft.com/office/drawing/2014/main" id="{52437462-20BC-4380-A386-D77A7C9C355C}"/>
                  </a:ext>
                </a:extLst>
              </p:cNvPr>
              <p:cNvSpPr/>
              <p:nvPr/>
            </p:nvSpPr>
            <p:spPr bwMode="gray">
              <a:xfrm>
                <a:off x="5273896" y="2147215"/>
                <a:ext cx="465318" cy="106818"/>
              </a:xfrm>
              <a:custGeom>
                <a:avLst/>
                <a:gdLst>
                  <a:gd name="connsiteX0" fmla="*/ 10243 w 465318"/>
                  <a:gd name="connsiteY0" fmla="*/ 106818 h 106818"/>
                  <a:gd name="connsiteX1" fmla="*/ 455076 w 465318"/>
                  <a:gd name="connsiteY1" fmla="*/ 106818 h 106818"/>
                  <a:gd name="connsiteX2" fmla="*/ 465319 w 465318"/>
                  <a:gd name="connsiteY2" fmla="*/ 96576 h 106818"/>
                  <a:gd name="connsiteX3" fmla="*/ 0 w 465318"/>
                  <a:gd name="connsiteY3" fmla="*/ 96576 h 106818"/>
                  <a:gd name="connsiteX4" fmla="*/ 10243 w 465318"/>
                  <a:gd name="connsiteY4" fmla="*/ 106818 h 106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318" h="106818">
                    <a:moveTo>
                      <a:pt x="10243" y="106818"/>
                    </a:moveTo>
                    <a:cubicBezTo>
                      <a:pt x="133157" y="-16096"/>
                      <a:pt x="332162" y="-16096"/>
                      <a:pt x="455076" y="106818"/>
                    </a:cubicBezTo>
                    <a:lnTo>
                      <a:pt x="465319" y="96576"/>
                    </a:lnTo>
                    <a:cubicBezTo>
                      <a:pt x="336551" y="-32192"/>
                      <a:pt x="128036" y="-32192"/>
                      <a:pt x="0" y="96576"/>
                    </a:cubicBezTo>
                    <a:lnTo>
                      <a:pt x="10243" y="106818"/>
                    </a:lnTo>
                    <a:close/>
                  </a:path>
                </a:pathLst>
              </a:custGeom>
              <a:solidFill>
                <a:srgbClr val="000000"/>
              </a:solidFill>
              <a:ln w="7243" cap="flat">
                <a:solidFill>
                  <a:srgbClr val="404040"/>
                </a:solid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sp>
            <p:nvSpPr>
              <p:cNvPr id="50" name="Freihandform: Form 49">
                <a:extLst>
                  <a:ext uri="{FF2B5EF4-FFF2-40B4-BE49-F238E27FC236}">
                    <a16:creationId xmlns:a16="http://schemas.microsoft.com/office/drawing/2014/main" id="{D17EB67D-2E54-4E61-B851-7FEE8CA7F9A2}"/>
                  </a:ext>
                </a:extLst>
              </p:cNvPr>
              <p:cNvSpPr/>
              <p:nvPr/>
            </p:nvSpPr>
            <p:spPr bwMode="gray">
              <a:xfrm>
                <a:off x="5335353" y="2235194"/>
                <a:ext cx="341672" cy="81028"/>
              </a:xfrm>
              <a:custGeom>
                <a:avLst/>
                <a:gdLst>
                  <a:gd name="connsiteX0" fmla="*/ 341673 w 341672"/>
                  <a:gd name="connsiteY0" fmla="*/ 70786 h 81028"/>
                  <a:gd name="connsiteX1" fmla="*/ 0 w 341672"/>
                  <a:gd name="connsiteY1" fmla="*/ 70786 h 81028"/>
                  <a:gd name="connsiteX2" fmla="*/ 10243 w 341672"/>
                  <a:gd name="connsiteY2" fmla="*/ 81028 h 81028"/>
                  <a:gd name="connsiteX3" fmla="*/ 330698 w 341672"/>
                  <a:gd name="connsiteY3" fmla="*/ 81028 h 81028"/>
                  <a:gd name="connsiteX4" fmla="*/ 341673 w 341672"/>
                  <a:gd name="connsiteY4" fmla="*/ 70786 h 81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72" h="81028">
                    <a:moveTo>
                      <a:pt x="341673" y="70786"/>
                    </a:moveTo>
                    <a:cubicBezTo>
                      <a:pt x="247292" y="-23595"/>
                      <a:pt x="94381" y="-23595"/>
                      <a:pt x="0" y="70786"/>
                    </a:cubicBezTo>
                    <a:lnTo>
                      <a:pt x="10243" y="81028"/>
                    </a:lnTo>
                    <a:cubicBezTo>
                      <a:pt x="98771" y="-7499"/>
                      <a:pt x="242171" y="-7499"/>
                      <a:pt x="330698" y="81028"/>
                    </a:cubicBezTo>
                    <a:lnTo>
                      <a:pt x="341673" y="70786"/>
                    </a:lnTo>
                    <a:close/>
                  </a:path>
                </a:pathLst>
              </a:custGeom>
              <a:solidFill>
                <a:srgbClr val="000000"/>
              </a:solidFill>
              <a:ln w="7243" cap="flat">
                <a:solidFill>
                  <a:srgbClr val="404040"/>
                </a:solid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sp>
            <p:nvSpPr>
              <p:cNvPr id="51" name="Freihandform: Form 50">
                <a:extLst>
                  <a:ext uri="{FF2B5EF4-FFF2-40B4-BE49-F238E27FC236}">
                    <a16:creationId xmlns:a16="http://schemas.microsoft.com/office/drawing/2014/main" id="{C1776007-3147-4196-9F97-06C903B6D75E}"/>
                  </a:ext>
                </a:extLst>
              </p:cNvPr>
              <p:cNvSpPr/>
              <p:nvPr/>
            </p:nvSpPr>
            <p:spPr bwMode="gray">
              <a:xfrm>
                <a:off x="5398273" y="2323173"/>
                <a:ext cx="217295" cy="55238"/>
              </a:xfrm>
              <a:custGeom>
                <a:avLst/>
                <a:gdLst>
                  <a:gd name="connsiteX0" fmla="*/ 10243 w 217295"/>
                  <a:gd name="connsiteY0" fmla="*/ 55238 h 55238"/>
                  <a:gd name="connsiteX1" fmla="*/ 207052 w 217295"/>
                  <a:gd name="connsiteY1" fmla="*/ 55238 h 55238"/>
                  <a:gd name="connsiteX2" fmla="*/ 217295 w 217295"/>
                  <a:gd name="connsiteY2" fmla="*/ 44995 h 55238"/>
                  <a:gd name="connsiteX3" fmla="*/ 0 w 217295"/>
                  <a:gd name="connsiteY3" fmla="*/ 44995 h 55238"/>
                  <a:gd name="connsiteX4" fmla="*/ 10243 w 217295"/>
                  <a:gd name="connsiteY4" fmla="*/ 55238 h 5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95" h="55238">
                    <a:moveTo>
                      <a:pt x="10243" y="55238"/>
                    </a:moveTo>
                    <a:cubicBezTo>
                      <a:pt x="64384" y="1097"/>
                      <a:pt x="152911" y="1097"/>
                      <a:pt x="207052" y="55238"/>
                    </a:cubicBezTo>
                    <a:lnTo>
                      <a:pt x="217295" y="44995"/>
                    </a:lnTo>
                    <a:cubicBezTo>
                      <a:pt x="157301" y="-14998"/>
                      <a:pt x="59994" y="-14998"/>
                      <a:pt x="0" y="44995"/>
                    </a:cubicBezTo>
                    <a:lnTo>
                      <a:pt x="10243" y="55238"/>
                    </a:lnTo>
                    <a:close/>
                  </a:path>
                </a:pathLst>
              </a:custGeom>
              <a:solidFill>
                <a:srgbClr val="000000"/>
              </a:solidFill>
              <a:ln w="7243" cap="flat">
                <a:solidFill>
                  <a:srgbClr val="404040"/>
                </a:solid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grpSp>
      </p:grpSp>
      <p:pic>
        <p:nvPicPr>
          <p:cNvPr id="56" name="Picture 55" descr="A picture containing person, weapon&#10;&#10;Description automatically generated">
            <a:extLst>
              <a:ext uri="{FF2B5EF4-FFF2-40B4-BE49-F238E27FC236}">
                <a16:creationId xmlns:a16="http://schemas.microsoft.com/office/drawing/2014/main" id="{CC63ACC7-6B45-4373-A1CB-B9E10121805D}"/>
              </a:ext>
            </a:extLst>
          </p:cNvPr>
          <p:cNvPicPr>
            <a:picLocks noChangeAspect="1"/>
          </p:cNvPicPr>
          <p:nvPr/>
        </p:nvPicPr>
        <p:blipFill>
          <a:blip r:embed="rId22"/>
          <a:stretch>
            <a:fillRect/>
          </a:stretch>
        </p:blipFill>
        <p:spPr bwMode="gray">
          <a:xfrm>
            <a:off x="1216042" y="1885481"/>
            <a:ext cx="1984097" cy="1304544"/>
          </a:xfrm>
          <a:prstGeom prst="wedgeRoundRectCallout">
            <a:avLst>
              <a:gd name="adj1" fmla="val -13590"/>
              <a:gd name="adj2" fmla="val 69467"/>
              <a:gd name="adj3" fmla="val 16667"/>
            </a:avLst>
          </a:prstGeom>
          <a:effectLst>
            <a:outerShdw blurRad="63500" sx="102000" sy="102000" algn="ctr" rotWithShape="0">
              <a:prstClr val="black">
                <a:alpha val="40000"/>
              </a:prstClr>
            </a:outerShdw>
          </a:effectLst>
        </p:spPr>
      </p:pic>
      <p:pic>
        <p:nvPicPr>
          <p:cNvPr id="57" name="Picture 56" descr="A picture containing person, red, hand, orange&#10;&#10;Description automatically generated">
            <a:extLst>
              <a:ext uri="{FF2B5EF4-FFF2-40B4-BE49-F238E27FC236}">
                <a16:creationId xmlns:a16="http://schemas.microsoft.com/office/drawing/2014/main" id="{51DD03F0-5AEB-46C8-BD53-E598BEC25CA1}"/>
              </a:ext>
            </a:extLst>
          </p:cNvPr>
          <p:cNvPicPr>
            <a:picLocks noChangeAspect="1"/>
          </p:cNvPicPr>
          <p:nvPr/>
        </p:nvPicPr>
        <p:blipFill>
          <a:blip r:embed="rId23"/>
          <a:stretch>
            <a:fillRect/>
          </a:stretch>
        </p:blipFill>
        <p:spPr bwMode="gray">
          <a:xfrm>
            <a:off x="4069889" y="1873652"/>
            <a:ext cx="1990904" cy="1328928"/>
          </a:xfrm>
          <a:prstGeom prst="wedgeRoundRectCallout">
            <a:avLst>
              <a:gd name="adj1" fmla="val 10151"/>
              <a:gd name="adj2" fmla="val 63263"/>
              <a:gd name="adj3" fmla="val 16667"/>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556456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1000"/>
                                        <p:tgtEl>
                                          <p:spTgt spid="46"/>
                                        </p:tgtEl>
                                      </p:cBhvr>
                                    </p:animEffect>
                                    <p:set>
                                      <p:cBhvr>
                                        <p:cTn id="26" dur="1" fill="hold">
                                          <p:stCondLst>
                                            <p:cond delay="999"/>
                                          </p:stCondLst>
                                        </p:cTn>
                                        <p:tgtEl>
                                          <p:spTgt spid="46"/>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8"/>
                                        </p:tgtEl>
                                      </p:cBhvr>
                                    </p:animEffect>
                                    <p:set>
                                      <p:cBhvr>
                                        <p:cTn id="32" dur="1" fill="hold">
                                          <p:stCondLst>
                                            <p:cond delay="499"/>
                                          </p:stCondLst>
                                        </p:cTn>
                                        <p:tgtEl>
                                          <p:spTgt spid="8"/>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4"/>
                                        </p:tgtEl>
                                      </p:cBhvr>
                                    </p:animEffect>
                                    <p:set>
                                      <p:cBhvr>
                                        <p:cTn id="35"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LOCTITE PULSE SP 60s 16.9">
            <a:hlinkClick r:id="" action="ppaction://media"/>
            <a:extLst>
              <a:ext uri="{FF2B5EF4-FFF2-40B4-BE49-F238E27FC236}">
                <a16:creationId xmlns:a16="http://schemas.microsoft.com/office/drawing/2014/main" id="{7BE567D4-7248-4D20-A625-65F312E99BE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pic>
        <p:nvPicPr>
          <p:cNvPr id="4" name="Image" descr="Image">
            <a:extLst>
              <a:ext uri="{FF2B5EF4-FFF2-40B4-BE49-F238E27FC236}">
                <a16:creationId xmlns:a16="http://schemas.microsoft.com/office/drawing/2014/main" id="{C3069202-3850-4F2B-B706-FE2E1CE4FB59}"/>
              </a:ext>
            </a:extLst>
          </p:cNvPr>
          <p:cNvPicPr>
            <a:picLocks noChangeAspect="1"/>
          </p:cNvPicPr>
          <p:nvPr/>
        </p:nvPicPr>
        <p:blipFill>
          <a:blip r:embed="rId5"/>
          <a:stretch>
            <a:fillRect/>
          </a:stretch>
        </p:blipFill>
        <p:spPr bwMode="gray">
          <a:xfrm>
            <a:off x="3440992" y="1655275"/>
            <a:ext cx="5310016" cy="740828"/>
          </a:xfrm>
          <a:prstGeom prst="rect">
            <a:avLst/>
          </a:prstGeom>
          <a:ln w="12700">
            <a:miter lim="400000"/>
          </a:ln>
        </p:spPr>
      </p:pic>
      <p:grpSp>
        <p:nvGrpSpPr>
          <p:cNvPr id="7" name="Gruppieren 6">
            <a:extLst>
              <a:ext uri="{FF2B5EF4-FFF2-40B4-BE49-F238E27FC236}">
                <a16:creationId xmlns:a16="http://schemas.microsoft.com/office/drawing/2014/main" id="{3C344729-13CC-4FDA-AC26-8460A8723538}"/>
              </a:ext>
            </a:extLst>
          </p:cNvPr>
          <p:cNvGrpSpPr/>
          <p:nvPr/>
        </p:nvGrpSpPr>
        <p:grpSpPr>
          <a:xfrm>
            <a:off x="5564757" y="2897756"/>
            <a:ext cx="1062489" cy="1062489"/>
            <a:chOff x="3937000" y="2471766"/>
            <a:chExt cx="796867" cy="796867"/>
          </a:xfrm>
        </p:grpSpPr>
        <p:sp>
          <p:nvSpPr>
            <p:cNvPr id="3" name="Gleichschenkliges Dreieck 2">
              <a:extLst>
                <a:ext uri="{FF2B5EF4-FFF2-40B4-BE49-F238E27FC236}">
                  <a16:creationId xmlns:a16="http://schemas.microsoft.com/office/drawing/2014/main" id="{48C114EA-ED4F-4199-ADE2-BFC08F2B0C51}"/>
                </a:ext>
              </a:extLst>
            </p:cNvPr>
            <p:cNvSpPr/>
            <p:nvPr/>
          </p:nvSpPr>
          <p:spPr bwMode="auto">
            <a:xfrm rot="5400000">
              <a:off x="4127500" y="2622550"/>
              <a:ext cx="574548" cy="495300"/>
            </a:xfrm>
            <a:prstGeom prst="triangle">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6" name="Ellipse 5">
              <a:extLst>
                <a:ext uri="{FF2B5EF4-FFF2-40B4-BE49-F238E27FC236}">
                  <a16:creationId xmlns:a16="http://schemas.microsoft.com/office/drawing/2014/main" id="{5A510707-1441-4D6A-8655-20443EFEF1B1}"/>
                </a:ext>
              </a:extLst>
            </p:cNvPr>
            <p:cNvSpPr/>
            <p:nvPr/>
          </p:nvSpPr>
          <p:spPr bwMode="auto">
            <a:xfrm>
              <a:off x="3937000" y="2471766"/>
              <a:ext cx="796867" cy="796867"/>
            </a:xfrm>
            <a:prstGeom prst="ellipse">
              <a:avLst/>
            </a:prstGeom>
            <a:noFill/>
            <a:ln w="76200" cap="flat" cmpd="sng" algn="ctr">
              <a:solidFill>
                <a:schemeClr val="bg1"/>
              </a:solid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pSp>
    </p:spTree>
    <p:extLst>
      <p:ext uri="{BB962C8B-B14F-4D97-AF65-F5344CB8AC3E}">
        <p14:creationId xmlns:p14="http://schemas.microsoft.com/office/powerpoint/2010/main" val="3964072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7"/>
                                        </p:tgtEl>
                                      </p:cBhvr>
                                    </p:animEffect>
                                    <p:animScale>
                                      <p:cBhvr>
                                        <p:cTn id="7" dur="250" autoRev="1" fill="hold"/>
                                        <p:tgtEl>
                                          <p:spTgt spid="7"/>
                                        </p:tgtEl>
                                      </p:cBhvr>
                                      <p:by x="105000" y="105000"/>
                                    </p:animScale>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7"/>
                                        </p:tgtEl>
                                      </p:cBhvr>
                                    </p:animEffect>
                                    <p:set>
                                      <p:cBhvr>
                                        <p:cTn id="14" dur="1" fill="hold">
                                          <p:stCondLst>
                                            <p:cond delay="499"/>
                                          </p:stCondLst>
                                        </p:cTn>
                                        <p:tgtEl>
                                          <p:spTgt spid="7"/>
                                        </p:tgtEl>
                                        <p:attrNameLst>
                                          <p:attrName>style.visibility</p:attrName>
                                        </p:attrNameLst>
                                      </p:cBhvr>
                                      <p:to>
                                        <p:strVal val="hidden"/>
                                      </p:to>
                                    </p:set>
                                  </p:childTnLst>
                                </p:cTn>
                              </p:par>
                            </p:childTnLst>
                          </p:cTn>
                        </p:par>
                        <p:par>
                          <p:cTn id="15" fill="hold">
                            <p:stCondLst>
                              <p:cond delay="1000"/>
                            </p:stCondLst>
                            <p:childTnLst>
                              <p:par>
                                <p:cTn id="16" presetID="1" presetClass="mediacall" presetSubtype="0" fill="hold" nodeType="afterEffect">
                                  <p:stCondLst>
                                    <p:cond delay="0"/>
                                  </p:stCondLst>
                                  <p:childTnLst>
                                    <p:cmd type="call" cmd="playFrom(0.0)">
                                      <p:cBhvr>
                                        <p:cTn id="17" dur="6097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8" fill="hold" display="0">
                  <p:stCondLst>
                    <p:cond delay="indefinite"/>
                  </p:stCondLst>
                </p:cTn>
                <p:tgtEl>
                  <p:spTgt spid="2"/>
                </p:tgtEl>
              </p:cMediaNode>
            </p:video>
            <p:seq concurrent="1" nextAc="seek">
              <p:cTn id="19" restart="whenNotActive" fill="hold" evtFilter="cancelBubble" nodeType="interactiveSeq">
                <p:stCondLst>
                  <p:cond evt="onClick" delay="0">
                    <p:tgtEl>
                      <p:spTgt spid="2"/>
                    </p:tgtEl>
                  </p:cond>
                </p:stCondLst>
                <p:endSync evt="end" delay="0">
                  <p:rtn val="all"/>
                </p:endSync>
                <p:childTnLst>
                  <p:par>
                    <p:cTn id="20" fill="hold">
                      <p:stCondLst>
                        <p:cond delay="0"/>
                      </p:stCondLst>
                      <p:childTnLst>
                        <p:par>
                          <p:cTn id="21" fill="hold">
                            <p:stCondLst>
                              <p:cond delay="0"/>
                            </p:stCondLst>
                            <p:childTnLst>
                              <p:par>
                                <p:cTn id="22" presetID="2" presetClass="mediacall" presetSubtype="0" fill="hold" nodeType="clickEffect">
                                  <p:stCondLst>
                                    <p:cond delay="0"/>
                                  </p:stCondLst>
                                  <p:childTnLst>
                                    <p:cmd type="call" cmd="togglePause">
                                      <p:cBhvr>
                                        <p:cTn id="23"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kt 71" hidden="1">
            <a:extLst>
              <a:ext uri="{FF2B5EF4-FFF2-40B4-BE49-F238E27FC236}">
                <a16:creationId xmlns:a16="http://schemas.microsoft.com/office/drawing/2014/main" id="{E7B294E8-CB63-4F45-A046-D1697BC913D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72" name="Objekt 71" hidden="1">
                        <a:extLst>
                          <a:ext uri="{FF2B5EF4-FFF2-40B4-BE49-F238E27FC236}">
                            <a16:creationId xmlns:a16="http://schemas.microsoft.com/office/drawing/2014/main" id="{E7B294E8-CB63-4F45-A046-D1697BC913D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67" name="Image" descr="Image">
            <a:extLst>
              <a:ext uri="{FF2B5EF4-FFF2-40B4-BE49-F238E27FC236}">
                <a16:creationId xmlns:a16="http://schemas.microsoft.com/office/drawing/2014/main" id="{648328C3-C8B9-40D9-A36C-CDABDDAF4F49}"/>
              </a:ext>
            </a:extLst>
          </p:cNvPr>
          <p:cNvPicPr>
            <a:picLocks noChangeAspect="1"/>
          </p:cNvPicPr>
          <p:nvPr/>
        </p:nvPicPr>
        <p:blipFill>
          <a:blip r:embed="rId5"/>
          <a:stretch>
            <a:fillRect/>
          </a:stretch>
        </p:blipFill>
        <p:spPr bwMode="gray">
          <a:xfrm>
            <a:off x="3440992" y="1130342"/>
            <a:ext cx="5310016" cy="740828"/>
          </a:xfrm>
          <a:prstGeom prst="rect">
            <a:avLst/>
          </a:prstGeom>
          <a:ln w="12700">
            <a:miter lim="400000"/>
          </a:ln>
        </p:spPr>
      </p:pic>
      <p:sp>
        <p:nvSpPr>
          <p:cNvPr id="69" name="ZoneTexte 38">
            <a:extLst>
              <a:ext uri="{FF2B5EF4-FFF2-40B4-BE49-F238E27FC236}">
                <a16:creationId xmlns:a16="http://schemas.microsoft.com/office/drawing/2014/main" id="{D067D337-9B34-455E-B129-FE06410AAE76}"/>
              </a:ext>
            </a:extLst>
          </p:cNvPr>
          <p:cNvSpPr txBox="1"/>
          <p:nvPr/>
        </p:nvSpPr>
        <p:spPr bwMode="gray">
          <a:xfrm>
            <a:off x="5566209" y="2912796"/>
            <a:ext cx="6024657" cy="4104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1219170" hangingPunct="0"/>
            <a:r>
              <a:rPr lang="es-ES" sz="1867" b="1" kern="0">
                <a:solidFill>
                  <a:srgbClr val="FFFFFF">
                    <a:lumMod val="85000"/>
                  </a:srgbClr>
                </a:solidFill>
                <a:latin typeface="Segoe UI"/>
                <a:ea typeface="Segoe UI"/>
                <a:cs typeface="Segoe UI"/>
                <a:sym typeface="Segoe UI"/>
              </a:rPr>
              <a:t>Próximamente</a:t>
            </a:r>
          </a:p>
        </p:txBody>
      </p:sp>
      <p:sp>
        <p:nvSpPr>
          <p:cNvPr id="71" name="Rectangle 40">
            <a:extLst>
              <a:ext uri="{FF2B5EF4-FFF2-40B4-BE49-F238E27FC236}">
                <a16:creationId xmlns:a16="http://schemas.microsoft.com/office/drawing/2014/main" id="{185729C3-94D8-4CAF-BB33-8E8E242C4CAF}"/>
              </a:ext>
            </a:extLst>
          </p:cNvPr>
          <p:cNvSpPr/>
          <p:nvPr/>
        </p:nvSpPr>
        <p:spPr bwMode="gray">
          <a:xfrm>
            <a:off x="5565489" y="3355098"/>
            <a:ext cx="6023321" cy="2087391"/>
          </a:xfrm>
          <a:prstGeom prst="rect">
            <a:avLst/>
          </a:prstGeom>
          <a:noFill/>
          <a:ln w="25400" cap="flat">
            <a:solidFill>
              <a:schemeClr val="bg1">
                <a:lumMod val="85000"/>
              </a:schemeClr>
            </a:solidFill>
            <a:prstDash val="sys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sp>
        <p:nvSpPr>
          <p:cNvPr id="76" name="ZoneTexte 38">
            <a:extLst>
              <a:ext uri="{FF2B5EF4-FFF2-40B4-BE49-F238E27FC236}">
                <a16:creationId xmlns:a16="http://schemas.microsoft.com/office/drawing/2014/main" id="{FEB926AB-4AC8-44DD-9C12-AB448B7A9C2D}"/>
              </a:ext>
            </a:extLst>
          </p:cNvPr>
          <p:cNvSpPr txBox="1"/>
          <p:nvPr/>
        </p:nvSpPr>
        <p:spPr bwMode="gray">
          <a:xfrm>
            <a:off x="2343746" y="2752701"/>
            <a:ext cx="3160825" cy="6155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1219170" hangingPunct="0"/>
            <a:r>
              <a:rPr lang="es-ES" sz="1600" b="1" kern="0">
                <a:solidFill>
                  <a:srgbClr val="FFFFFF">
                    <a:lumMod val="85000"/>
                  </a:srgbClr>
                </a:solidFill>
                <a:latin typeface="Segoe UI"/>
                <a:ea typeface="Segoe UI"/>
                <a:cs typeface="Segoe UI"/>
                <a:sym typeface="Segoe UI"/>
              </a:rPr>
              <a:t>Listo para su aplicación experimental</a:t>
            </a:r>
          </a:p>
        </p:txBody>
      </p:sp>
      <p:sp>
        <p:nvSpPr>
          <p:cNvPr id="77" name="Rectangle 40">
            <a:extLst>
              <a:ext uri="{FF2B5EF4-FFF2-40B4-BE49-F238E27FC236}">
                <a16:creationId xmlns:a16="http://schemas.microsoft.com/office/drawing/2014/main" id="{2F8D0651-43E4-4727-A664-A3B3136795B6}"/>
              </a:ext>
            </a:extLst>
          </p:cNvPr>
          <p:cNvSpPr/>
          <p:nvPr/>
        </p:nvSpPr>
        <p:spPr bwMode="gray">
          <a:xfrm>
            <a:off x="2343026" y="3355098"/>
            <a:ext cx="3067175" cy="2087391"/>
          </a:xfrm>
          <a:prstGeom prst="rect">
            <a:avLst/>
          </a:prstGeom>
          <a:noFill/>
          <a:ln w="25400" cap="flat">
            <a:solidFill>
              <a:schemeClr val="bg1">
                <a:lumMod val="85000"/>
              </a:schemeClr>
            </a:solidFill>
            <a:prstDash val="sys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sp>
        <p:nvSpPr>
          <p:cNvPr id="63" name="Rounded Rectangle">
            <a:hlinkClick r:id="" action="ppaction://noaction"/>
            <a:extLst>
              <a:ext uri="{FF2B5EF4-FFF2-40B4-BE49-F238E27FC236}">
                <a16:creationId xmlns:a16="http://schemas.microsoft.com/office/drawing/2014/main" id="{E99CDB90-B6CF-4774-8819-6F44D8CACB1C}"/>
              </a:ext>
            </a:extLst>
          </p:cNvPr>
          <p:cNvSpPr/>
          <p:nvPr/>
        </p:nvSpPr>
        <p:spPr bwMode="gray">
          <a:xfrm>
            <a:off x="10114161" y="3612326"/>
            <a:ext cx="1352179" cy="1667429"/>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73" name="Rechteck 14">
            <a:extLst>
              <a:ext uri="{FF2B5EF4-FFF2-40B4-BE49-F238E27FC236}">
                <a16:creationId xmlns:a16="http://schemas.microsoft.com/office/drawing/2014/main" id="{13070F17-F488-4449-AD3B-10936DFE91BE}"/>
              </a:ext>
            </a:extLst>
          </p:cNvPr>
          <p:cNvSpPr txBox="1"/>
          <p:nvPr/>
        </p:nvSpPr>
        <p:spPr bwMode="gray">
          <a:xfrm>
            <a:off x="10163523" y="4797160"/>
            <a:ext cx="1253456" cy="3463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a:t>
            </a:r>
          </a:p>
        </p:txBody>
      </p:sp>
      <p:pic>
        <p:nvPicPr>
          <p:cNvPr id="74" name="Valve (1).png" descr="Valve (1).png">
            <a:extLst>
              <a:ext uri="{FF2B5EF4-FFF2-40B4-BE49-F238E27FC236}">
                <a16:creationId xmlns:a16="http://schemas.microsoft.com/office/drawing/2014/main" id="{5EFD9AFF-7C2D-420F-B556-AEDB268BC2AC}"/>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a:ext>
            </a:extLst>
          </a:blip>
          <a:srcRect/>
          <a:stretch/>
        </p:blipFill>
        <p:spPr bwMode="gray">
          <a:xfrm>
            <a:off x="10309728" y="3648986"/>
            <a:ext cx="961048" cy="1170775"/>
          </a:xfrm>
          <a:prstGeom prst="rect">
            <a:avLst/>
          </a:prstGeom>
        </p:spPr>
      </p:pic>
      <p:sp>
        <p:nvSpPr>
          <p:cNvPr id="75" name="Rounded Rectangle">
            <a:extLst>
              <a:ext uri="{FF2B5EF4-FFF2-40B4-BE49-F238E27FC236}">
                <a16:creationId xmlns:a16="http://schemas.microsoft.com/office/drawing/2014/main" id="{E9937B34-E874-4AD0-8866-4AED92619ADE}"/>
              </a:ext>
            </a:extLst>
          </p:cNvPr>
          <p:cNvSpPr/>
          <p:nvPr/>
        </p:nvSpPr>
        <p:spPr bwMode="gray">
          <a:xfrm>
            <a:off x="5674143" y="3612326"/>
            <a:ext cx="1352179" cy="1667429"/>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80" name="Rounded Rectangle">
            <a:extLst>
              <a:ext uri="{FF2B5EF4-FFF2-40B4-BE49-F238E27FC236}">
                <a16:creationId xmlns:a16="http://schemas.microsoft.com/office/drawing/2014/main" id="{05957605-788B-40FF-BA2A-1110B2B91291}"/>
              </a:ext>
            </a:extLst>
          </p:cNvPr>
          <p:cNvSpPr/>
          <p:nvPr/>
        </p:nvSpPr>
        <p:spPr bwMode="gray">
          <a:xfrm>
            <a:off x="7174557" y="3612326"/>
            <a:ext cx="1352179" cy="1667429"/>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pic>
        <p:nvPicPr>
          <p:cNvPr id="86" name="Image 41" descr="Image 41">
            <a:extLst>
              <a:ext uri="{FF2B5EF4-FFF2-40B4-BE49-F238E27FC236}">
                <a16:creationId xmlns:a16="http://schemas.microsoft.com/office/drawing/2014/main" id="{3B2FBA23-A005-470D-82D2-8E6381FA092D}"/>
              </a:ext>
            </a:extLst>
          </p:cNvPr>
          <p:cNvPicPr>
            <a:picLocks noChangeAspect="1"/>
          </p:cNvPicPr>
          <p:nvPr/>
        </p:nvPicPr>
        <p:blipFill>
          <a:blip r:embed="rId8" cstate="print">
            <a:extLst>
              <a:ext uri="{BEBA8EAE-BF5A-486C-A8C5-ECC9F3942E4B}">
                <a14:imgProps xmlns:a14="http://schemas.microsoft.com/office/drawing/2010/main">
                  <a14:imgLayer r:embed="rId9">
                    <a14:imgEffect>
                      <a14:artisticBlur/>
                    </a14:imgEffect>
                  </a14:imgLayer>
                </a14:imgProps>
              </a:ext>
              <a:ext uri="{28A0092B-C50C-407E-A947-70E740481C1C}">
                <a14:useLocalDpi xmlns:a14="http://schemas.microsoft.com/office/drawing/2010/main"/>
              </a:ext>
            </a:extLst>
          </a:blip>
          <a:stretch>
            <a:fillRect/>
          </a:stretch>
        </p:blipFill>
        <p:spPr bwMode="gray">
          <a:xfrm>
            <a:off x="7172477" y="3783647"/>
            <a:ext cx="1352179" cy="901452"/>
          </a:xfrm>
          <a:prstGeom prst="rect">
            <a:avLst/>
          </a:prstGeom>
        </p:spPr>
      </p:pic>
      <p:sp>
        <p:nvSpPr>
          <p:cNvPr id="87" name="Rechteck 14">
            <a:extLst>
              <a:ext uri="{FF2B5EF4-FFF2-40B4-BE49-F238E27FC236}">
                <a16:creationId xmlns:a16="http://schemas.microsoft.com/office/drawing/2014/main" id="{65DE3676-6AF4-412C-858B-A3418D26FE75}"/>
              </a:ext>
            </a:extLst>
          </p:cNvPr>
          <p:cNvSpPr txBox="1"/>
          <p:nvPr/>
        </p:nvSpPr>
        <p:spPr bwMode="gray">
          <a:xfrm>
            <a:off x="7143947" y="4797160"/>
            <a:ext cx="1364589" cy="3463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a:t>
            </a:r>
          </a:p>
        </p:txBody>
      </p:sp>
      <p:sp>
        <p:nvSpPr>
          <p:cNvPr id="88" name="Rounded Rectangle">
            <a:extLst>
              <a:ext uri="{FF2B5EF4-FFF2-40B4-BE49-F238E27FC236}">
                <a16:creationId xmlns:a16="http://schemas.microsoft.com/office/drawing/2014/main" id="{BB78A415-5E71-44E4-91FB-B928D3DEAF8A}"/>
              </a:ext>
            </a:extLst>
          </p:cNvPr>
          <p:cNvSpPr/>
          <p:nvPr/>
        </p:nvSpPr>
        <p:spPr bwMode="gray">
          <a:xfrm>
            <a:off x="8644359" y="3612324"/>
            <a:ext cx="1352179" cy="1667429"/>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grpSp>
        <p:nvGrpSpPr>
          <p:cNvPr id="9" name="Group 8">
            <a:extLst>
              <a:ext uri="{FF2B5EF4-FFF2-40B4-BE49-F238E27FC236}">
                <a16:creationId xmlns:a16="http://schemas.microsoft.com/office/drawing/2014/main" id="{B50A65A9-E16A-456B-A341-E0F55A5DEE57}"/>
              </a:ext>
            </a:extLst>
          </p:cNvPr>
          <p:cNvGrpSpPr/>
          <p:nvPr/>
        </p:nvGrpSpPr>
        <p:grpSpPr bwMode="gray">
          <a:xfrm>
            <a:off x="751656" y="3612326"/>
            <a:ext cx="1371600" cy="1667429"/>
            <a:chOff x="563742" y="2367502"/>
            <a:chExt cx="1028700" cy="1250572"/>
          </a:xfrm>
        </p:grpSpPr>
        <p:sp>
          <p:nvSpPr>
            <p:cNvPr id="40" name="Rounded Rectangle">
              <a:hlinkClick r:id="rId10" action="ppaction://hlinksldjump"/>
              <a:extLst>
                <a:ext uri="{FF2B5EF4-FFF2-40B4-BE49-F238E27FC236}">
                  <a16:creationId xmlns:a16="http://schemas.microsoft.com/office/drawing/2014/main" id="{86BC8BE2-D1BC-406A-9964-C35E3CF11F4A}"/>
                </a:ext>
              </a:extLst>
            </p:cNvPr>
            <p:cNvSpPr/>
            <p:nvPr/>
          </p:nvSpPr>
          <p:spPr bwMode="gray">
            <a:xfrm>
              <a:off x="573050" y="2367502"/>
              <a:ext cx="1014134" cy="1250572"/>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41" name="Rechteck 14">
              <a:extLst>
                <a:ext uri="{FF2B5EF4-FFF2-40B4-BE49-F238E27FC236}">
                  <a16:creationId xmlns:a16="http://schemas.microsoft.com/office/drawing/2014/main" id="{8315AEED-B293-42E0-AA2E-A37836F43DC1}"/>
                </a:ext>
              </a:extLst>
            </p:cNvPr>
            <p:cNvSpPr txBox="1"/>
            <p:nvPr/>
          </p:nvSpPr>
          <p:spPr bwMode="gray">
            <a:xfrm>
              <a:off x="573050" y="3167233"/>
              <a:ext cx="1014134" cy="4375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Brida inteligente</a:t>
              </a:r>
            </a:p>
          </p:txBody>
        </p:sp>
        <p:pic>
          <p:nvPicPr>
            <p:cNvPr id="4" name="Picture 3" descr="A picture containing dark, black, light&#10;&#10;Description automatically generated">
              <a:extLst>
                <a:ext uri="{FF2B5EF4-FFF2-40B4-BE49-F238E27FC236}">
                  <a16:creationId xmlns:a16="http://schemas.microsoft.com/office/drawing/2014/main" id="{B53AB290-3C17-4492-822C-17199A4CBC7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bwMode="gray">
            <a:xfrm>
              <a:off x="563742" y="2548371"/>
              <a:ext cx="1028700" cy="685800"/>
            </a:xfrm>
            <a:prstGeom prst="rect">
              <a:avLst/>
            </a:prstGeom>
          </p:spPr>
        </p:pic>
      </p:grpSp>
      <p:grpSp>
        <p:nvGrpSpPr>
          <p:cNvPr id="10" name="Group 9">
            <a:extLst>
              <a:ext uri="{FF2B5EF4-FFF2-40B4-BE49-F238E27FC236}">
                <a16:creationId xmlns:a16="http://schemas.microsoft.com/office/drawing/2014/main" id="{DE185275-226D-4AEF-846E-6D33331A6CF1}"/>
              </a:ext>
            </a:extLst>
          </p:cNvPr>
          <p:cNvGrpSpPr/>
          <p:nvPr/>
        </p:nvGrpSpPr>
        <p:grpSpPr bwMode="gray">
          <a:xfrm>
            <a:off x="2284070" y="3612326"/>
            <a:ext cx="1561701" cy="1667429"/>
            <a:chOff x="1713052" y="2367502"/>
            <a:chExt cx="1171276" cy="1250572"/>
          </a:xfrm>
        </p:grpSpPr>
        <p:sp>
          <p:nvSpPr>
            <p:cNvPr id="44" name="Rounded Rectangle">
              <a:hlinkClick r:id="" action="ppaction://noaction"/>
              <a:extLst>
                <a:ext uri="{FF2B5EF4-FFF2-40B4-BE49-F238E27FC236}">
                  <a16:creationId xmlns:a16="http://schemas.microsoft.com/office/drawing/2014/main" id="{98C94151-3187-41FA-B934-6D5EC52CD236}"/>
                </a:ext>
              </a:extLst>
            </p:cNvPr>
            <p:cNvSpPr/>
            <p:nvPr/>
          </p:nvSpPr>
          <p:spPr bwMode="gray">
            <a:xfrm>
              <a:off x="1864725" y="2367502"/>
              <a:ext cx="1014135" cy="1250572"/>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45" name="Rechteck 14">
              <a:extLst>
                <a:ext uri="{FF2B5EF4-FFF2-40B4-BE49-F238E27FC236}">
                  <a16:creationId xmlns:a16="http://schemas.microsoft.com/office/drawing/2014/main" id="{17FD1C75-2FE2-4B20-A4D6-BD080E49FD64}"/>
                </a:ext>
              </a:extLst>
            </p:cNvPr>
            <p:cNvSpPr txBox="1"/>
            <p:nvPr/>
          </p:nvSpPr>
          <p:spPr bwMode="gray">
            <a:xfrm>
              <a:off x="1870193" y="3167233"/>
              <a:ext cx="1014135" cy="4375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Tubería inteligente</a:t>
              </a:r>
            </a:p>
          </p:txBody>
        </p:sp>
        <p:pic>
          <p:nvPicPr>
            <p:cNvPr id="6" name="Picture 5" descr="A white toothbrush on a black background&#10;&#10;Description automatically generated with low confidence">
              <a:extLst>
                <a:ext uri="{FF2B5EF4-FFF2-40B4-BE49-F238E27FC236}">
                  <a16:creationId xmlns:a16="http://schemas.microsoft.com/office/drawing/2014/main" id="{71528FF7-3ED8-4A37-8C7E-71E68D6CB28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bwMode="gray">
            <a:xfrm>
              <a:off x="1713052" y="2587271"/>
              <a:ext cx="1097280" cy="603504"/>
            </a:xfrm>
            <a:prstGeom prst="rect">
              <a:avLst/>
            </a:prstGeom>
          </p:spPr>
        </p:pic>
      </p:grpSp>
      <p:grpSp>
        <p:nvGrpSpPr>
          <p:cNvPr id="11" name="Group 10">
            <a:extLst>
              <a:ext uri="{FF2B5EF4-FFF2-40B4-BE49-F238E27FC236}">
                <a16:creationId xmlns:a16="http://schemas.microsoft.com/office/drawing/2014/main" id="{E255173D-BC48-4980-9733-F9E1864FE6CC}"/>
              </a:ext>
            </a:extLst>
          </p:cNvPr>
          <p:cNvGrpSpPr/>
          <p:nvPr/>
        </p:nvGrpSpPr>
        <p:grpSpPr bwMode="gray">
          <a:xfrm>
            <a:off x="3945267" y="3612326"/>
            <a:ext cx="3263312" cy="1667429"/>
            <a:chOff x="2958950" y="2367502"/>
            <a:chExt cx="2447484" cy="1250572"/>
          </a:xfrm>
        </p:grpSpPr>
        <p:sp>
          <p:nvSpPr>
            <p:cNvPr id="52" name="Rounded Rectangle">
              <a:hlinkClick r:id="" action="ppaction://noaction"/>
              <a:extLst>
                <a:ext uri="{FF2B5EF4-FFF2-40B4-BE49-F238E27FC236}">
                  <a16:creationId xmlns:a16="http://schemas.microsoft.com/office/drawing/2014/main" id="{A02B1D79-F717-458C-BD15-273DBDCAB3BD}"/>
                </a:ext>
              </a:extLst>
            </p:cNvPr>
            <p:cNvSpPr/>
            <p:nvPr/>
          </p:nvSpPr>
          <p:spPr bwMode="gray">
            <a:xfrm>
              <a:off x="2958950" y="2367502"/>
              <a:ext cx="1014134" cy="1250572"/>
            </a:xfrm>
            <a:prstGeom prst="roundRect">
              <a:avLst>
                <a:gd name="adj" fmla="val 4793"/>
              </a:avLst>
            </a:prstGeom>
            <a:solidFill>
              <a:srgbClr val="F5F5F7"/>
            </a:solidFill>
            <a:ln w="12700" cap="flat">
              <a:noFill/>
              <a:miter lim="400000"/>
            </a:ln>
            <a:effectLst>
              <a:outerShdw blurRad="38100" dist="20000" dir="5400000" rotWithShape="0">
                <a:srgbClr val="000000">
                  <a:alpha val="81101"/>
                </a:srgbClr>
              </a:outerShdw>
            </a:effectLst>
          </p:spPr>
          <p:txBody>
            <a:bodyPr wrap="square" lIns="62399" tIns="62399" rIns="62399" bIns="62399" numCol="1" anchor="t">
              <a:noAutofit/>
            </a:bodyPr>
            <a:lstStyle/>
            <a:p>
              <a:pPr defTabSz="1219140" hangingPunct="0"/>
              <a:endParaRPr lang="en-US" sz="2400" kern="0">
                <a:solidFill>
                  <a:srgbClr val="000000"/>
                </a:solidFill>
                <a:latin typeface="Segoe UI" panose="020B0502040204020203" pitchFamily="34" charset="0"/>
                <a:cs typeface="Segoe UI" panose="020B0502040204020203" pitchFamily="34" charset="0"/>
                <a:sym typeface="Segoe UI"/>
              </a:endParaRPr>
            </a:p>
          </p:txBody>
        </p:sp>
        <p:sp>
          <p:nvSpPr>
            <p:cNvPr id="53" name="Rechteck 14">
              <a:extLst>
                <a:ext uri="{FF2B5EF4-FFF2-40B4-BE49-F238E27FC236}">
                  <a16:creationId xmlns:a16="http://schemas.microsoft.com/office/drawing/2014/main" id="{657E9E2A-0614-431C-8C65-A1705749F62F}"/>
                </a:ext>
              </a:extLst>
            </p:cNvPr>
            <p:cNvSpPr txBox="1"/>
            <p:nvPr/>
          </p:nvSpPr>
          <p:spPr bwMode="gray">
            <a:xfrm>
              <a:off x="4318838" y="3256128"/>
              <a:ext cx="920627" cy="25979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a:t>
              </a:r>
            </a:p>
          </p:txBody>
        </p:sp>
        <p:pic>
          <p:nvPicPr>
            <p:cNvPr id="8" name="Picture 7">
              <a:extLst>
                <a:ext uri="{FF2B5EF4-FFF2-40B4-BE49-F238E27FC236}">
                  <a16:creationId xmlns:a16="http://schemas.microsoft.com/office/drawing/2014/main" id="{4E9B437E-3D8E-4E11-AD7A-FD2D616DBB37}"/>
                </a:ext>
              </a:extLst>
            </p:cNvPr>
            <p:cNvPicPr>
              <a:picLocks noChangeAspect="1"/>
            </p:cNvPicPr>
            <p:nvPr/>
          </p:nvPicPr>
          <p:blipFill>
            <a:blip r:embed="rId13" cstate="screen">
              <a:extLst>
                <a:ext uri="{BEBA8EAE-BF5A-486C-A8C5-ECC9F3942E4B}">
                  <a14:imgProps xmlns:a14="http://schemas.microsoft.com/office/drawing/2010/main">
                    <a14:imgLayer r:embed="rId14">
                      <a14:imgEffect>
                        <a14:artisticBlur/>
                      </a14:imgEffect>
                    </a14:imgLayer>
                  </a14:imgProps>
                </a:ext>
                <a:ext uri="{28A0092B-C50C-407E-A947-70E740481C1C}">
                  <a14:useLocalDpi xmlns:a14="http://schemas.microsoft.com/office/drawing/2010/main"/>
                </a:ext>
              </a:extLst>
            </a:blip>
            <a:stretch>
              <a:fillRect/>
            </a:stretch>
          </p:blipFill>
          <p:spPr bwMode="gray">
            <a:xfrm>
              <a:off x="4145708" y="2411741"/>
              <a:ext cx="1260726" cy="841248"/>
            </a:xfrm>
            <a:prstGeom prst="rect">
              <a:avLst/>
            </a:prstGeom>
          </p:spPr>
        </p:pic>
      </p:grpSp>
      <p:sp>
        <p:nvSpPr>
          <p:cNvPr id="2" name="Rechteck 1">
            <a:hlinkClick r:id="rId10" action="ppaction://hlinksldjump"/>
            <a:extLst>
              <a:ext uri="{FF2B5EF4-FFF2-40B4-BE49-F238E27FC236}">
                <a16:creationId xmlns:a16="http://schemas.microsoft.com/office/drawing/2014/main" id="{C4A2C0C6-B30D-4209-BEB5-E6728FE94C82}"/>
              </a:ext>
            </a:extLst>
          </p:cNvPr>
          <p:cNvSpPr/>
          <p:nvPr/>
        </p:nvSpPr>
        <p:spPr bwMode="gray">
          <a:xfrm>
            <a:off x="663075" y="3544185"/>
            <a:ext cx="1497264" cy="1775327"/>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47" name="Rechteck 46">
            <a:hlinkClick r:id="" action="ppaction://noaction"/>
            <a:extLst>
              <a:ext uri="{FF2B5EF4-FFF2-40B4-BE49-F238E27FC236}">
                <a16:creationId xmlns:a16="http://schemas.microsoft.com/office/drawing/2014/main" id="{CF9A933A-9E93-41C0-ABED-9F06A4988F46}"/>
              </a:ext>
            </a:extLst>
          </p:cNvPr>
          <p:cNvSpPr/>
          <p:nvPr/>
        </p:nvSpPr>
        <p:spPr bwMode="gray">
          <a:xfrm>
            <a:off x="2393943" y="3544185"/>
            <a:ext cx="1497264" cy="1775327"/>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sp>
        <p:nvSpPr>
          <p:cNvPr id="59" name="Rechteck 58">
            <a:hlinkClick r:id="" action="ppaction://noaction"/>
            <a:extLst>
              <a:ext uri="{FF2B5EF4-FFF2-40B4-BE49-F238E27FC236}">
                <a16:creationId xmlns:a16="http://schemas.microsoft.com/office/drawing/2014/main" id="{6A5B0E6D-91F4-4504-9364-27BBAC2B8A70}"/>
              </a:ext>
            </a:extLst>
          </p:cNvPr>
          <p:cNvSpPr/>
          <p:nvPr/>
        </p:nvSpPr>
        <p:spPr bwMode="gray">
          <a:xfrm>
            <a:off x="3089848" y="5406287"/>
            <a:ext cx="1497264" cy="1775327"/>
          </a:xfrm>
          <a:prstGeom prst="rect">
            <a:avLst/>
          </a:prstGeom>
          <a:noFill/>
          <a:ln w="9525" cap="flat" cmpd="sng" algn="ctr">
            <a:noFill/>
            <a:prstDash val="solid"/>
            <a:round/>
            <a:headEnd type="none" w="med" len="med"/>
            <a:tailEnd type="none" w="med" len="med"/>
          </a:ln>
          <a:effectLst/>
        </p:spPr>
        <p:txBody>
          <a:bodyPr vert="horz" wrap="square" lIns="120000" tIns="62400" rIns="120000" bIns="62400" numCol="1" rtlCol="0" anchor="t" anchorCtr="0" compatLnSpc="1">
            <a:prstTxWarp prst="textNoShape">
              <a:avLst/>
            </a:prstTxWarp>
          </a:bodyPr>
          <a:lstStyle/>
          <a:p>
            <a:pPr defTabSz="1219170" fontAlgn="base">
              <a:lnSpc>
                <a:spcPct val="105000"/>
              </a:lnSpc>
              <a:spcBef>
                <a:spcPct val="0"/>
              </a:spcBef>
              <a:spcAft>
                <a:spcPct val="0"/>
              </a:spcAft>
              <a:buClr>
                <a:srgbClr val="E1000F"/>
              </a:buClr>
              <a:buSzPct val="120000"/>
            </a:pPr>
            <a:endParaRPr lang="en-US" sz="2400" kern="0">
              <a:solidFill>
                <a:srgbClr val="000000"/>
              </a:solidFill>
              <a:latin typeface="Segoe UI"/>
              <a:cs typeface="Segoe UI"/>
              <a:sym typeface="Segoe UI"/>
            </a:endParaRPr>
          </a:p>
        </p:txBody>
      </p:sp>
      <p:grpSp>
        <p:nvGrpSpPr>
          <p:cNvPr id="42" name="Gruppieren 24">
            <a:extLst>
              <a:ext uri="{FF2B5EF4-FFF2-40B4-BE49-F238E27FC236}">
                <a16:creationId xmlns:a16="http://schemas.microsoft.com/office/drawing/2014/main" id="{6E4D9BC5-FF1B-4080-97F9-ACE4D327321C}"/>
              </a:ext>
            </a:extLst>
          </p:cNvPr>
          <p:cNvGrpSpPr/>
          <p:nvPr/>
        </p:nvGrpSpPr>
        <p:grpSpPr bwMode="gray">
          <a:xfrm>
            <a:off x="11564326" y="162392"/>
            <a:ext cx="547663" cy="683491"/>
            <a:chOff x="8673244" y="121794"/>
            <a:chExt cx="410747" cy="512618"/>
          </a:xfrm>
        </p:grpSpPr>
        <p:grpSp>
          <p:nvGrpSpPr>
            <p:cNvPr id="43" name="Gruppieren 25">
              <a:extLst>
                <a:ext uri="{FF2B5EF4-FFF2-40B4-BE49-F238E27FC236}">
                  <a16:creationId xmlns:a16="http://schemas.microsoft.com/office/drawing/2014/main" id="{39FD5196-B651-4F80-9B1C-4C46797FF79B}"/>
                </a:ext>
              </a:extLst>
            </p:cNvPr>
            <p:cNvGrpSpPr/>
            <p:nvPr/>
          </p:nvGrpSpPr>
          <p:grpSpPr bwMode="gray">
            <a:xfrm>
              <a:off x="8673244" y="121794"/>
              <a:ext cx="410747" cy="512618"/>
              <a:chOff x="8166407" y="354405"/>
              <a:chExt cx="564701" cy="704754"/>
            </a:xfrm>
          </p:grpSpPr>
          <p:sp>
            <p:nvSpPr>
              <p:cNvPr id="48" name="Circle">
                <a:hlinkClick r:id="" action="ppaction://noaction"/>
                <a:extLst>
                  <a:ext uri="{FF2B5EF4-FFF2-40B4-BE49-F238E27FC236}">
                    <a16:creationId xmlns:a16="http://schemas.microsoft.com/office/drawing/2014/main" id="{6389A8D6-0C9A-4B4B-877F-6073F54272EB}"/>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49" name="Rectangle 17">
                <a:extLst>
                  <a:ext uri="{FF2B5EF4-FFF2-40B4-BE49-F238E27FC236}">
                    <a16:creationId xmlns:a16="http://schemas.microsoft.com/office/drawing/2014/main" id="{88EA1289-8399-4663-9F34-523BA897E716}"/>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FFFFFF"/>
                    </a:solidFill>
                  </a:rPr>
                  <a:t>MENÚ</a:t>
                </a:r>
              </a:p>
            </p:txBody>
          </p:sp>
        </p:grpSp>
        <p:pic>
          <p:nvPicPr>
            <p:cNvPr id="46" name="Grafik 26" descr="Zurück mit einfarbiger Füllung">
              <a:hlinkClick r:id="" action="ppaction://noaction"/>
              <a:extLst>
                <a:ext uri="{FF2B5EF4-FFF2-40B4-BE49-F238E27FC236}">
                  <a16:creationId xmlns:a16="http://schemas.microsoft.com/office/drawing/2014/main" id="{C0498430-F11B-4E0A-A48C-3E9F7095D54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gray">
            <a:xfrm>
              <a:off x="8732841" y="132370"/>
              <a:ext cx="285750" cy="285750"/>
            </a:xfrm>
            <a:prstGeom prst="rect">
              <a:avLst/>
            </a:prstGeom>
          </p:spPr>
        </p:pic>
      </p:grpSp>
      <p:sp>
        <p:nvSpPr>
          <p:cNvPr id="78" name="Rechteck 14">
            <a:extLst>
              <a:ext uri="{FF2B5EF4-FFF2-40B4-BE49-F238E27FC236}">
                <a16:creationId xmlns:a16="http://schemas.microsoft.com/office/drawing/2014/main" id="{C3D42A4B-8AD4-4B23-B05C-8D8AE4181EDB}"/>
              </a:ext>
            </a:extLst>
          </p:cNvPr>
          <p:cNvSpPr txBox="1"/>
          <p:nvPr/>
        </p:nvSpPr>
        <p:spPr bwMode="gray">
          <a:xfrm>
            <a:off x="8655371" y="4797160"/>
            <a:ext cx="1364589" cy="34639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a:t>
            </a:r>
          </a:p>
        </p:txBody>
      </p:sp>
      <p:pic>
        <p:nvPicPr>
          <p:cNvPr id="79" name="Image 2" descr="Image 2">
            <a:extLst>
              <a:ext uri="{FF2B5EF4-FFF2-40B4-BE49-F238E27FC236}">
                <a16:creationId xmlns:a16="http://schemas.microsoft.com/office/drawing/2014/main" id="{247B50A7-37B4-466C-9B8E-C610048F8421}"/>
              </a:ext>
            </a:extLst>
          </p:cNvPr>
          <p:cNvPicPr>
            <a:picLocks noChangeAspect="1"/>
          </p:cNvPicPr>
          <p:nvPr/>
        </p:nvPicPr>
        <p:blipFill>
          <a:blip r:embed="rId17" cstate="print">
            <a:extLst>
              <a:ext uri="{BEBA8EAE-BF5A-486C-A8C5-ECC9F3942E4B}">
                <a14:imgProps xmlns:a14="http://schemas.microsoft.com/office/drawing/2010/main">
                  <a14:imgLayer r:embed="rId18">
                    <a14:imgEffect>
                      <a14:artisticBlur/>
                    </a14:imgEffect>
                  </a14:imgLayer>
                </a14:imgProps>
              </a:ext>
              <a:ext uri="{28A0092B-C50C-407E-A947-70E740481C1C}">
                <a14:useLocalDpi xmlns:a14="http://schemas.microsoft.com/office/drawing/2010/main"/>
              </a:ext>
            </a:extLst>
          </a:blip>
          <a:srcRect/>
          <a:stretch>
            <a:fillRect/>
          </a:stretch>
        </p:blipFill>
        <p:spPr bwMode="gray">
          <a:xfrm>
            <a:off x="8814094" y="3750340"/>
            <a:ext cx="1016597" cy="1116144"/>
          </a:xfrm>
          <a:prstGeom prst="rect">
            <a:avLst/>
          </a:prstGeom>
        </p:spPr>
      </p:pic>
      <p:pic>
        <p:nvPicPr>
          <p:cNvPr id="89" name="Image 33" descr="Image 33">
            <a:extLst>
              <a:ext uri="{FF2B5EF4-FFF2-40B4-BE49-F238E27FC236}">
                <a16:creationId xmlns:a16="http://schemas.microsoft.com/office/drawing/2014/main" id="{62CFC5AE-5A20-4DC3-B037-D17DA8EA813A}"/>
              </a:ext>
            </a:extLst>
          </p:cNvPr>
          <p:cNvPicPr>
            <a:picLocks noChangeAspect="1"/>
          </p:cNvPicPr>
          <p:nvPr/>
        </p:nvPicPr>
        <p:blipFill>
          <a:blip r:embed="rId19" cstate="print">
            <a:extLst>
              <a:ext uri="{28A0092B-C50C-407E-A947-70E740481C1C}">
                <a14:useLocalDpi xmlns:a14="http://schemas.microsoft.com/office/drawing/2010/main"/>
              </a:ext>
            </a:extLst>
          </a:blip>
          <a:srcRect/>
          <a:stretch>
            <a:fillRect/>
          </a:stretch>
        </p:blipFill>
        <p:spPr bwMode="gray">
          <a:xfrm>
            <a:off x="4123926" y="3785421"/>
            <a:ext cx="1016781" cy="990344"/>
          </a:xfrm>
          <a:prstGeom prst="rect">
            <a:avLst/>
          </a:prstGeom>
        </p:spPr>
      </p:pic>
      <p:sp>
        <p:nvSpPr>
          <p:cNvPr id="90" name="Rechteck 14">
            <a:extLst>
              <a:ext uri="{FF2B5EF4-FFF2-40B4-BE49-F238E27FC236}">
                <a16:creationId xmlns:a16="http://schemas.microsoft.com/office/drawing/2014/main" id="{3E466CE8-19E8-4C03-AB0C-95750A470A6E}"/>
              </a:ext>
            </a:extLst>
          </p:cNvPr>
          <p:cNvSpPr txBox="1"/>
          <p:nvPr/>
        </p:nvSpPr>
        <p:spPr bwMode="gray">
          <a:xfrm>
            <a:off x="3949898" y="4674418"/>
            <a:ext cx="1364589" cy="5834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97" tIns="62397" rIns="62397" bIns="62397" numCol="1" anchor="ctr">
            <a:spAutoFit/>
          </a:bodyPr>
          <a:lstStyle>
            <a:lvl1pPr algn="ctr" defTabSz="914378">
              <a:lnSpc>
                <a:spcPct val="104999"/>
              </a:lnSpc>
              <a:defRPr sz="1100">
                <a:solidFill>
                  <a:srgbClr val="E10413"/>
                </a:solidFill>
              </a:defRPr>
            </a:lvl1pPr>
          </a:lstStyle>
          <a:p>
            <a:pPr defTabSz="1219140" hangingPunct="0"/>
            <a:r>
              <a:rPr lang="es-ES" sz="1467" kern="0">
                <a:solidFill>
                  <a:srgbClr val="000000"/>
                </a:solidFill>
                <a:latin typeface="Segoe UI" panose="020B0502040204020203" pitchFamily="34" charset="0"/>
                <a:cs typeface="Segoe UI" panose="020B0502040204020203" pitchFamily="34" charset="0"/>
                <a:sym typeface="Segoe UI"/>
              </a:rPr>
              <a:t>Purgador de Vapor</a:t>
            </a:r>
          </a:p>
        </p:txBody>
      </p:sp>
      <p:sp>
        <p:nvSpPr>
          <p:cNvPr id="50" name="ZoneTexte 39">
            <a:extLst>
              <a:ext uri="{FF2B5EF4-FFF2-40B4-BE49-F238E27FC236}">
                <a16:creationId xmlns:a16="http://schemas.microsoft.com/office/drawing/2014/main" id="{4FD74A9C-3F3F-4895-9062-47A34653B940}"/>
              </a:ext>
            </a:extLst>
          </p:cNvPr>
          <p:cNvSpPr txBox="1"/>
          <p:nvPr/>
        </p:nvSpPr>
        <p:spPr bwMode="gray">
          <a:xfrm>
            <a:off x="601136" y="2742422"/>
            <a:ext cx="1637569" cy="615551"/>
          </a:xfrm>
          <a:prstGeom prst="rect">
            <a:avLst/>
          </a:prstGeom>
          <a:solidFill>
            <a:srgbClr val="E10413"/>
          </a:solidFill>
          <a:ln w="12700" cap="flat">
            <a:solidFill>
              <a:srgbClr val="E1041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t">
            <a:spAutoFit/>
          </a:bodyPr>
          <a:lstStyle/>
          <a:p>
            <a:pPr algn="ctr" defTabSz="1219170" hangingPunct="0"/>
            <a:r>
              <a:rPr lang="es-ES" sz="1600" b="1" kern="0">
                <a:solidFill>
                  <a:srgbClr val="FFFFFF"/>
                </a:solidFill>
                <a:latin typeface="Segoe UI"/>
                <a:ea typeface="Segoe UI"/>
                <a:cs typeface="Segoe UI"/>
                <a:sym typeface="Segoe UI"/>
              </a:rPr>
              <a:t>Disponible</a:t>
            </a:r>
          </a:p>
          <a:p>
            <a:pPr algn="ctr" defTabSz="1219170" hangingPunct="0"/>
            <a:endParaRPr lang="es-ES" sz="1600" b="1" kern="0">
              <a:solidFill>
                <a:srgbClr val="FFFFFF"/>
              </a:solidFill>
              <a:latin typeface="Segoe UI"/>
              <a:ea typeface="Segoe UI"/>
              <a:cs typeface="Segoe UI"/>
              <a:sym typeface="Segoe UI"/>
            </a:endParaRPr>
          </a:p>
        </p:txBody>
      </p:sp>
      <p:sp>
        <p:nvSpPr>
          <p:cNvPr id="68" name="Rectangle 1">
            <a:extLst>
              <a:ext uri="{FF2B5EF4-FFF2-40B4-BE49-F238E27FC236}">
                <a16:creationId xmlns:a16="http://schemas.microsoft.com/office/drawing/2014/main" id="{0C5F36BA-99CA-487E-8DB9-D4053E9335A6}"/>
              </a:ext>
            </a:extLst>
          </p:cNvPr>
          <p:cNvSpPr/>
          <p:nvPr/>
        </p:nvSpPr>
        <p:spPr bwMode="gray">
          <a:xfrm>
            <a:off x="611119" y="3355098"/>
            <a:ext cx="1621148" cy="2087391"/>
          </a:xfrm>
          <a:prstGeom prst="rect">
            <a:avLst/>
          </a:prstGeom>
          <a:noFill/>
          <a:ln w="25400" cap="flat">
            <a:solidFill>
              <a:srgbClr val="E10413"/>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spTree>
    <p:extLst>
      <p:ext uri="{BB962C8B-B14F-4D97-AF65-F5344CB8AC3E}">
        <p14:creationId xmlns:p14="http://schemas.microsoft.com/office/powerpoint/2010/main" val="189810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C1BFD3-517C-4E30-8E3D-7C0D1AA637D9}"/>
              </a:ext>
            </a:extLst>
          </p:cNvPr>
          <p:cNvPicPr>
            <a:picLocks noChangeAspect="1"/>
          </p:cNvPicPr>
          <p:nvPr/>
        </p:nvPicPr>
        <p:blipFill>
          <a:blip r:embed="rId2"/>
          <a:stretch>
            <a:fillRect/>
          </a:stretch>
        </p:blipFill>
        <p:spPr bwMode="gray">
          <a:xfrm>
            <a:off x="6979821" y="-234810"/>
            <a:ext cx="4127316" cy="7092809"/>
          </a:xfrm>
          <a:prstGeom prst="rect">
            <a:avLst/>
          </a:prstGeom>
          <a:ln w="12700">
            <a:miter lim="400000"/>
          </a:ln>
          <a:effectLst>
            <a:outerShdw blurRad="165100" dist="163020" dir="10472014" rotWithShape="0">
              <a:srgbClr val="000000">
                <a:alpha val="13095"/>
              </a:srgbClr>
            </a:outerShdw>
          </a:effectLst>
        </p:spPr>
      </p:pic>
      <p:sp>
        <p:nvSpPr>
          <p:cNvPr id="2" name="So why don’t we do it?">
            <a:extLst>
              <a:ext uri="{FF2B5EF4-FFF2-40B4-BE49-F238E27FC236}">
                <a16:creationId xmlns:a16="http://schemas.microsoft.com/office/drawing/2014/main" id="{B4DC9E8E-7836-40DD-90A6-BDEBDC016C13}"/>
              </a:ext>
            </a:extLst>
          </p:cNvPr>
          <p:cNvSpPr txBox="1"/>
          <p:nvPr/>
        </p:nvSpPr>
        <p:spPr bwMode="gray">
          <a:xfrm>
            <a:off x="1187931" y="2332285"/>
            <a:ext cx="8289856" cy="291348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0957" tIns="60957" rIns="60957" bIns="60957">
            <a:spAutoFit/>
          </a:bodyPr>
          <a:lstStyle>
            <a:lvl1pPr defTabSz="914378">
              <a:lnSpc>
                <a:spcPct val="80000"/>
              </a:lnSpc>
              <a:defRPr sz="6200" b="1" cap="all">
                <a:solidFill>
                  <a:srgbClr val="FFFFFF"/>
                </a:solidFill>
              </a:defRPr>
            </a:lvl1pPr>
          </a:lstStyle>
          <a:p>
            <a:pPr defTabSz="1219140" hangingPunct="0"/>
            <a:r>
              <a:rPr lang="es-ES" sz="7200" kern="0">
                <a:latin typeface="Segoe UI"/>
                <a:cs typeface="Segoe UI"/>
                <a:sym typeface="Segoe UI"/>
              </a:rPr>
              <a:t>Bridas</a:t>
            </a:r>
          </a:p>
          <a:p>
            <a:pPr defTabSz="1219140" hangingPunct="0"/>
            <a:r>
              <a:rPr lang="es-ES" sz="7200" kern="0">
                <a:latin typeface="Segoe UI"/>
                <a:cs typeface="Segoe UI"/>
                <a:sym typeface="Segoe UI"/>
              </a:rPr>
              <a:t>Inteligentes </a:t>
            </a:r>
          </a:p>
          <a:p>
            <a:pPr defTabSz="1219140" hangingPunct="0"/>
            <a:endParaRPr lang="es-ES" sz="8266" kern="0">
              <a:latin typeface="Segoe UI"/>
              <a:cs typeface="Segoe UI"/>
              <a:sym typeface="Segoe UI"/>
            </a:endParaRPr>
          </a:p>
        </p:txBody>
      </p:sp>
      <p:sp>
        <p:nvSpPr>
          <p:cNvPr id="3" name="ZoneTexte 7">
            <a:extLst>
              <a:ext uri="{FF2B5EF4-FFF2-40B4-BE49-F238E27FC236}">
                <a16:creationId xmlns:a16="http://schemas.microsoft.com/office/drawing/2014/main" id="{40142F90-A0DB-42F0-99D9-73361F751948}"/>
              </a:ext>
            </a:extLst>
          </p:cNvPr>
          <p:cNvSpPr txBox="1"/>
          <p:nvPr/>
        </p:nvSpPr>
        <p:spPr bwMode="gray">
          <a:xfrm>
            <a:off x="1274512" y="1847866"/>
            <a:ext cx="7859325"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0959" rIns="60959">
            <a:spAutoFit/>
          </a:bodyPr>
          <a:lstStyle>
            <a:lvl1pPr defTabSz="914378">
              <a:defRPr sz="1100">
                <a:solidFill>
                  <a:srgbClr val="F2F2F2"/>
                </a:solidFill>
              </a:defRPr>
            </a:lvl1pPr>
          </a:lstStyle>
          <a:p>
            <a:pPr defTabSz="1219140" hangingPunct="0"/>
            <a:r>
              <a:rPr lang="es-ES" sz="1467" kern="0">
                <a:latin typeface="Segoe UI"/>
                <a:cs typeface="Segoe UI"/>
                <a:sym typeface="Segoe UI"/>
              </a:rPr>
              <a:t>Hablemos de... </a:t>
            </a:r>
          </a:p>
        </p:txBody>
      </p:sp>
      <p:sp>
        <p:nvSpPr>
          <p:cNvPr id="6" name="Rechteck 5">
            <a:extLst>
              <a:ext uri="{FF2B5EF4-FFF2-40B4-BE49-F238E27FC236}">
                <a16:creationId xmlns:a16="http://schemas.microsoft.com/office/drawing/2014/main" id="{8A1374A4-CF10-4CF5-A5CC-EB9603941D59}"/>
              </a:ext>
            </a:extLst>
          </p:cNvPr>
          <p:cNvSpPr/>
          <p:nvPr/>
        </p:nvSpPr>
        <p:spPr bwMode="gray">
          <a:xfrm>
            <a:off x="8104047" y="1909533"/>
            <a:ext cx="1805099" cy="2751791"/>
          </a:xfrm>
          <a:prstGeom prst="rect">
            <a:avLst/>
          </a:prstGeom>
          <a:solidFill>
            <a:srgbClr val="E1041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pic>
        <p:nvPicPr>
          <p:cNvPr id="8" name="Image" descr="Image">
            <a:extLst>
              <a:ext uri="{FF2B5EF4-FFF2-40B4-BE49-F238E27FC236}">
                <a16:creationId xmlns:a16="http://schemas.microsoft.com/office/drawing/2014/main" id="{CE7351AC-2ED3-4E68-80F7-16A62EC5715D}"/>
              </a:ext>
            </a:extLst>
          </p:cNvPr>
          <p:cNvPicPr>
            <a:picLocks noChangeAspect="1"/>
          </p:cNvPicPr>
          <p:nvPr/>
        </p:nvPicPr>
        <p:blipFill>
          <a:blip r:embed="rId3"/>
          <a:stretch>
            <a:fillRect/>
          </a:stretch>
        </p:blipFill>
        <p:spPr bwMode="gray">
          <a:xfrm>
            <a:off x="8473725" y="4578695"/>
            <a:ext cx="1139505" cy="158979"/>
          </a:xfrm>
          <a:prstGeom prst="rect">
            <a:avLst/>
          </a:prstGeom>
          <a:ln w="12700">
            <a:miter lim="400000"/>
          </a:ln>
        </p:spPr>
      </p:pic>
      <p:grpSp>
        <p:nvGrpSpPr>
          <p:cNvPr id="9" name="Gruppieren 8">
            <a:extLst>
              <a:ext uri="{FF2B5EF4-FFF2-40B4-BE49-F238E27FC236}">
                <a16:creationId xmlns:a16="http://schemas.microsoft.com/office/drawing/2014/main" id="{7E14293B-A92F-41BE-AF90-E7462E13A65B}"/>
              </a:ext>
            </a:extLst>
          </p:cNvPr>
          <p:cNvGrpSpPr/>
          <p:nvPr/>
        </p:nvGrpSpPr>
        <p:grpSpPr bwMode="gray">
          <a:xfrm>
            <a:off x="11564326" y="162392"/>
            <a:ext cx="547663" cy="683491"/>
            <a:chOff x="8673244" y="121794"/>
            <a:chExt cx="410747" cy="512618"/>
          </a:xfrm>
        </p:grpSpPr>
        <p:grpSp>
          <p:nvGrpSpPr>
            <p:cNvPr id="10" name="Gruppieren 9">
              <a:extLst>
                <a:ext uri="{FF2B5EF4-FFF2-40B4-BE49-F238E27FC236}">
                  <a16:creationId xmlns:a16="http://schemas.microsoft.com/office/drawing/2014/main" id="{33F536E7-6F87-43BA-B278-3D9E15175CDA}"/>
                </a:ext>
              </a:extLst>
            </p:cNvPr>
            <p:cNvGrpSpPr/>
            <p:nvPr/>
          </p:nvGrpSpPr>
          <p:grpSpPr bwMode="gray">
            <a:xfrm>
              <a:off x="8673244" y="121794"/>
              <a:ext cx="410747" cy="512618"/>
              <a:chOff x="8166407" y="354405"/>
              <a:chExt cx="564701" cy="704754"/>
            </a:xfrm>
          </p:grpSpPr>
          <p:sp>
            <p:nvSpPr>
              <p:cNvPr id="12" name="Circle">
                <a:hlinkClick r:id="" action="ppaction://noaction"/>
                <a:extLst>
                  <a:ext uri="{FF2B5EF4-FFF2-40B4-BE49-F238E27FC236}">
                    <a16:creationId xmlns:a16="http://schemas.microsoft.com/office/drawing/2014/main" id="{F750389A-1E0A-448D-84DB-AB2202A15AC2}"/>
                  </a:ext>
                </a:extLst>
              </p:cNvPr>
              <p:cNvSpPr/>
              <p:nvPr/>
            </p:nvSpPr>
            <p:spPr bwMode="gray">
              <a:xfrm>
                <a:off x="8223173" y="354405"/>
                <a:ext cx="451169" cy="451169"/>
              </a:xfrm>
              <a:prstGeom prst="ellipse">
                <a:avLst/>
              </a:prstGeom>
              <a:solidFill>
                <a:schemeClr val="bg1"/>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13" name="Rectangle 17">
                <a:extLst>
                  <a:ext uri="{FF2B5EF4-FFF2-40B4-BE49-F238E27FC236}">
                    <a16:creationId xmlns:a16="http://schemas.microsoft.com/office/drawing/2014/main" id="{D94D778E-26E4-4BFD-BBC9-44FF2953DDB0}"/>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FFFFFF"/>
                    </a:solidFill>
                  </a:rPr>
                  <a:t>MENÚ</a:t>
                </a:r>
              </a:p>
            </p:txBody>
          </p:sp>
        </p:grpSp>
        <p:pic>
          <p:nvPicPr>
            <p:cNvPr id="11" name="Grafik 10" descr="Zurück mit einfarbiger Füllung">
              <a:hlinkClick r:id="rId4" action="ppaction://hlinksldjump"/>
              <a:extLst>
                <a:ext uri="{FF2B5EF4-FFF2-40B4-BE49-F238E27FC236}">
                  <a16:creationId xmlns:a16="http://schemas.microsoft.com/office/drawing/2014/main" id="{12DFBB18-475E-4757-8FDE-841A51D8C3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8732841" y="132370"/>
              <a:ext cx="285750" cy="285750"/>
            </a:xfrm>
            <a:prstGeom prst="rect">
              <a:avLst/>
            </a:prstGeom>
          </p:spPr>
        </p:pic>
      </p:grpSp>
      <p:pic>
        <p:nvPicPr>
          <p:cNvPr id="14" name="Picture 13">
            <a:extLst>
              <a:ext uri="{FF2B5EF4-FFF2-40B4-BE49-F238E27FC236}">
                <a16:creationId xmlns:a16="http://schemas.microsoft.com/office/drawing/2014/main" id="{BF3DB416-B602-48ED-8336-2E9B975AFCE7}"/>
              </a:ext>
            </a:extLst>
          </p:cNvPr>
          <p:cNvPicPr>
            <a:picLocks noChangeAspect="1"/>
          </p:cNvPicPr>
          <p:nvPr/>
        </p:nvPicPr>
        <p:blipFill rotWithShape="1">
          <a:blip r:embed="rId7"/>
          <a:srcRect r="23869"/>
          <a:stretch/>
        </p:blipFill>
        <p:spPr bwMode="gray">
          <a:xfrm>
            <a:off x="6979820" y="1633923"/>
            <a:ext cx="3052629" cy="2673132"/>
          </a:xfrm>
          <a:prstGeom prst="rect">
            <a:avLst/>
          </a:prstGeom>
        </p:spPr>
      </p:pic>
    </p:spTree>
    <p:extLst>
      <p:ext uri="{BB962C8B-B14F-4D97-AF65-F5344CB8AC3E}">
        <p14:creationId xmlns:p14="http://schemas.microsoft.com/office/powerpoint/2010/main" val="3333602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8FD2691-0E6E-41C7-BF57-2AEC5FB97B5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6" name="Objekt 5" hidden="1">
                        <a:extLst>
                          <a:ext uri="{FF2B5EF4-FFF2-40B4-BE49-F238E27FC236}">
                            <a16:creationId xmlns:a16="http://schemas.microsoft.com/office/drawing/2014/main" id="{78FD2691-0E6E-41C7-BF57-2AEC5FB97B5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3DE9270-AC22-4633-999B-3F5DA5167BE7}"/>
              </a:ext>
            </a:extLst>
          </p:cNvPr>
          <p:cNvSpPr>
            <a:spLocks noGrp="1"/>
          </p:cNvSpPr>
          <p:nvPr>
            <p:ph type="title"/>
          </p:nvPr>
        </p:nvSpPr>
        <p:spPr bwMode="gray"/>
        <p:txBody>
          <a:bodyPr vert="horz"/>
          <a:lstStyle/>
          <a:p>
            <a:r>
              <a:rPr lang="es-ES" sz="3200"/>
              <a:t>¡Veamos la solución!</a:t>
            </a:r>
          </a:p>
        </p:txBody>
      </p:sp>
      <p:sp>
        <p:nvSpPr>
          <p:cNvPr id="3" name="Untertitel 2">
            <a:extLst>
              <a:ext uri="{FF2B5EF4-FFF2-40B4-BE49-F238E27FC236}">
                <a16:creationId xmlns:a16="http://schemas.microsoft.com/office/drawing/2014/main" id="{66BDB08E-A17A-4320-8A1F-80CE5FE3866D}"/>
              </a:ext>
            </a:extLst>
          </p:cNvPr>
          <p:cNvSpPr>
            <a:spLocks noGrp="1"/>
          </p:cNvSpPr>
          <p:nvPr>
            <p:ph type="subTitle" idx="14"/>
          </p:nvPr>
        </p:nvSpPr>
        <p:spPr bwMode="gray"/>
        <p:txBody>
          <a:bodyPr/>
          <a:lstStyle/>
          <a:p>
            <a:r>
              <a:rPr lang="es-ES" sz="2133"/>
              <a:t>Ejemplos de instalación de Bridas Inteligentes</a:t>
            </a:r>
          </a:p>
        </p:txBody>
      </p:sp>
      <p:grpSp>
        <p:nvGrpSpPr>
          <p:cNvPr id="7" name="Gruppieren 6">
            <a:extLst>
              <a:ext uri="{FF2B5EF4-FFF2-40B4-BE49-F238E27FC236}">
                <a16:creationId xmlns:a16="http://schemas.microsoft.com/office/drawing/2014/main" id="{20EF3EE9-94D3-4673-A226-9249295F3CF2}"/>
              </a:ext>
            </a:extLst>
          </p:cNvPr>
          <p:cNvGrpSpPr/>
          <p:nvPr/>
        </p:nvGrpSpPr>
        <p:grpSpPr bwMode="gray">
          <a:xfrm>
            <a:off x="11564326" y="162392"/>
            <a:ext cx="547663" cy="683491"/>
            <a:chOff x="8673244" y="121794"/>
            <a:chExt cx="410747" cy="512618"/>
          </a:xfrm>
        </p:grpSpPr>
        <p:grpSp>
          <p:nvGrpSpPr>
            <p:cNvPr id="8" name="Gruppieren 7">
              <a:extLst>
                <a:ext uri="{FF2B5EF4-FFF2-40B4-BE49-F238E27FC236}">
                  <a16:creationId xmlns:a16="http://schemas.microsoft.com/office/drawing/2014/main" id="{BC643224-D355-478F-82CE-E351CDD962FA}"/>
                </a:ext>
              </a:extLst>
            </p:cNvPr>
            <p:cNvGrpSpPr/>
            <p:nvPr/>
          </p:nvGrpSpPr>
          <p:grpSpPr bwMode="gray">
            <a:xfrm>
              <a:off x="8673244" y="121794"/>
              <a:ext cx="410747" cy="512618"/>
              <a:chOff x="8166407" y="354405"/>
              <a:chExt cx="564701" cy="704754"/>
            </a:xfrm>
          </p:grpSpPr>
          <p:sp>
            <p:nvSpPr>
              <p:cNvPr id="10" name="Circle">
                <a:hlinkClick r:id="" action="ppaction://noaction"/>
                <a:extLst>
                  <a:ext uri="{FF2B5EF4-FFF2-40B4-BE49-F238E27FC236}">
                    <a16:creationId xmlns:a16="http://schemas.microsoft.com/office/drawing/2014/main" id="{D9B8B67F-0058-413D-B297-5AD629708C2B}"/>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11" name="Rectangle 17">
                <a:extLst>
                  <a:ext uri="{FF2B5EF4-FFF2-40B4-BE49-F238E27FC236}">
                    <a16:creationId xmlns:a16="http://schemas.microsoft.com/office/drawing/2014/main" id="{CBE1D647-AF60-4CA1-811F-429057816146}"/>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FFFFFF"/>
                    </a:solidFill>
                  </a:rPr>
                  <a:t>MENÚ</a:t>
                </a:r>
              </a:p>
            </p:txBody>
          </p:sp>
        </p:grpSp>
        <p:pic>
          <p:nvPicPr>
            <p:cNvPr id="9" name="Grafik 8" descr="Zurück mit einfarbiger Füllung">
              <a:hlinkClick r:id="" action="ppaction://noaction"/>
              <a:extLst>
                <a:ext uri="{FF2B5EF4-FFF2-40B4-BE49-F238E27FC236}">
                  <a16:creationId xmlns:a16="http://schemas.microsoft.com/office/drawing/2014/main" id="{1FB557B5-1931-495C-A4EC-64306317F9B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8732841" y="132370"/>
              <a:ext cx="285750" cy="285750"/>
            </a:xfrm>
            <a:prstGeom prst="rect">
              <a:avLst/>
            </a:prstGeom>
          </p:spPr>
        </p:pic>
      </p:grpSp>
      <p:pic>
        <p:nvPicPr>
          <p:cNvPr id="16" name="Picture 10" descr="A picture containing indoor, sitting, table, motorcycle&#10;&#10;Description automatically generated">
            <a:extLst>
              <a:ext uri="{FF2B5EF4-FFF2-40B4-BE49-F238E27FC236}">
                <a16:creationId xmlns:a16="http://schemas.microsoft.com/office/drawing/2014/main" id="{5BDF1731-0B4A-42CA-8C17-EC5982E1D3F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232457" y="2459794"/>
            <a:ext cx="2562792" cy="1655007"/>
          </a:xfrm>
          <a:prstGeom prst="roundRect">
            <a:avLst>
              <a:gd name="adj" fmla="val 2097"/>
            </a:avLst>
          </a:prstGeom>
          <a:solidFill>
            <a:schemeClr val="bg1"/>
          </a:solidFill>
          <a:ln w="12700">
            <a:miter lim="400000"/>
          </a:ln>
          <a:effectLst>
            <a:outerShdw blurRad="38100" dist="20000" dir="5400000" rotWithShape="0">
              <a:srgbClr val="000000">
                <a:alpha val="38000"/>
              </a:srgbClr>
            </a:outerShdw>
          </a:effectLst>
        </p:spPr>
      </p:pic>
      <p:pic>
        <p:nvPicPr>
          <p:cNvPr id="17" name="Picture 6">
            <a:extLst>
              <a:ext uri="{FF2B5EF4-FFF2-40B4-BE49-F238E27FC236}">
                <a16:creationId xmlns:a16="http://schemas.microsoft.com/office/drawing/2014/main" id="{52FA9717-87DD-44D1-B614-CC585BBAA41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590551" y="2446083"/>
            <a:ext cx="5398501" cy="3573717"/>
          </a:xfrm>
          <a:prstGeom prst="roundRect">
            <a:avLst>
              <a:gd name="adj" fmla="val 2097"/>
            </a:avLst>
          </a:prstGeom>
          <a:solidFill>
            <a:schemeClr val="bg1"/>
          </a:solidFill>
          <a:ln w="12700">
            <a:miter lim="400000"/>
          </a:ln>
          <a:effectLst>
            <a:outerShdw blurRad="38100" dist="20000" dir="5400000" rotWithShape="0">
              <a:srgbClr val="000000">
                <a:alpha val="38000"/>
              </a:srgbClr>
            </a:outerShdw>
          </a:effectLst>
        </p:spPr>
      </p:pic>
      <p:pic>
        <p:nvPicPr>
          <p:cNvPr id="18" name="Picture 7">
            <a:extLst>
              <a:ext uri="{FF2B5EF4-FFF2-40B4-BE49-F238E27FC236}">
                <a16:creationId xmlns:a16="http://schemas.microsoft.com/office/drawing/2014/main" id="{5D6DEA4D-1C70-41E0-A939-248FF7C7BD44}"/>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b="-1"/>
          <a:stretch/>
        </p:blipFill>
        <p:spPr>
          <a:xfrm>
            <a:off x="6232458" y="4347976"/>
            <a:ext cx="2562793" cy="1671825"/>
          </a:xfrm>
          <a:prstGeom prst="roundRect">
            <a:avLst>
              <a:gd name="adj" fmla="val 2097"/>
            </a:avLst>
          </a:prstGeom>
          <a:solidFill>
            <a:schemeClr val="bg1"/>
          </a:solidFill>
          <a:ln w="12700">
            <a:miter lim="400000"/>
          </a:ln>
          <a:effectLst>
            <a:outerShdw blurRad="38100" dist="20000" dir="5400000" rotWithShape="0">
              <a:srgbClr val="000000">
                <a:alpha val="38000"/>
              </a:srgbClr>
            </a:outerShdw>
          </a:effectLst>
        </p:spPr>
      </p:pic>
      <p:pic>
        <p:nvPicPr>
          <p:cNvPr id="22" name="Picture 22">
            <a:extLst>
              <a:ext uri="{FF2B5EF4-FFF2-40B4-BE49-F238E27FC236}">
                <a16:creationId xmlns:a16="http://schemas.microsoft.com/office/drawing/2014/main" id="{A349F255-CB55-4C5C-BFD9-B440368D2DDB}"/>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9038656" y="4347976"/>
            <a:ext cx="2552211" cy="1671825"/>
          </a:xfrm>
          <a:prstGeom prst="roundRect">
            <a:avLst>
              <a:gd name="adj" fmla="val 2097"/>
            </a:avLst>
          </a:prstGeom>
          <a:solidFill>
            <a:schemeClr val="bg1"/>
          </a:solidFill>
          <a:ln w="12700">
            <a:miter lim="400000"/>
          </a:ln>
          <a:effectLst>
            <a:outerShdw blurRad="38100" dist="20000" dir="5400000" rotWithShape="0">
              <a:srgbClr val="000000">
                <a:alpha val="38000"/>
              </a:srgbClr>
            </a:outerShdw>
          </a:effectLst>
        </p:spPr>
      </p:pic>
      <p:pic>
        <p:nvPicPr>
          <p:cNvPr id="24" name="Picture 26" descr="A picture containing indoor, engine&#10;&#10;Description automatically generated">
            <a:extLst>
              <a:ext uri="{FF2B5EF4-FFF2-40B4-BE49-F238E27FC236}">
                <a16:creationId xmlns:a16="http://schemas.microsoft.com/office/drawing/2014/main" id="{D97CB036-2F15-4FD1-AA19-565B78EDB802}"/>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9038657" y="2450597"/>
            <a:ext cx="2562793" cy="1664204"/>
          </a:xfrm>
          <a:prstGeom prst="roundRect">
            <a:avLst>
              <a:gd name="adj" fmla="val 2097"/>
            </a:avLst>
          </a:prstGeom>
          <a:solidFill>
            <a:schemeClr val="bg1"/>
          </a:solidFill>
          <a:ln w="12700">
            <a:miter lim="400000"/>
          </a:ln>
          <a:effectLst>
            <a:outerShdw blurRad="38100" dist="20000" dir="5400000" rotWithShape="0">
              <a:srgbClr val="000000">
                <a:alpha val="38000"/>
              </a:srgbClr>
            </a:outerShdw>
          </a:effectLst>
        </p:spPr>
      </p:pic>
    </p:spTree>
    <p:extLst>
      <p:ext uri="{BB962C8B-B14F-4D97-AF65-F5344CB8AC3E}">
        <p14:creationId xmlns:p14="http://schemas.microsoft.com/office/powerpoint/2010/main" val="4168189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kt 55" hidden="1">
            <a:extLst>
              <a:ext uri="{FF2B5EF4-FFF2-40B4-BE49-F238E27FC236}">
                <a16:creationId xmlns:a16="http://schemas.microsoft.com/office/drawing/2014/main" id="{B13E27FE-3856-49F3-869B-DF74F7EC378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98" imgH="499" progId="TCLayout.ActiveDocument.1">
                  <p:embed/>
                </p:oleObj>
              </mc:Choice>
              <mc:Fallback>
                <p:oleObj name="think-cell Folie" r:id="rId3" imgW="498" imgH="499" progId="TCLayout.ActiveDocument.1">
                  <p:embed/>
                  <p:pic>
                    <p:nvPicPr>
                      <p:cNvPr id="56" name="Objekt 55" hidden="1">
                        <a:extLst>
                          <a:ext uri="{FF2B5EF4-FFF2-40B4-BE49-F238E27FC236}">
                            <a16:creationId xmlns:a16="http://schemas.microsoft.com/office/drawing/2014/main" id="{B13E27FE-3856-49F3-869B-DF74F7EC3784}"/>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8FD47B0-E41D-42DC-9BCE-21C0B278FDE6}"/>
              </a:ext>
            </a:extLst>
          </p:cNvPr>
          <p:cNvSpPr>
            <a:spLocks noGrp="1"/>
          </p:cNvSpPr>
          <p:nvPr>
            <p:ph type="title"/>
          </p:nvPr>
        </p:nvSpPr>
        <p:spPr bwMode="gray"/>
        <p:txBody>
          <a:bodyPr vert="horz"/>
          <a:lstStyle/>
          <a:p>
            <a:r>
              <a:rPr lang="es-ES" sz="3200"/>
              <a:t>Resumen esquemático de la solución</a:t>
            </a:r>
            <a:br>
              <a:rPr lang="es-ES" sz="3200"/>
            </a:br>
            <a:endParaRPr lang="es-ES" sz="3200"/>
          </a:p>
        </p:txBody>
      </p:sp>
      <p:sp>
        <p:nvSpPr>
          <p:cNvPr id="3" name="Untertitel 2">
            <a:extLst>
              <a:ext uri="{FF2B5EF4-FFF2-40B4-BE49-F238E27FC236}">
                <a16:creationId xmlns:a16="http://schemas.microsoft.com/office/drawing/2014/main" id="{12989304-DD25-4D2F-9A52-EC51B3F5BCE7}"/>
              </a:ext>
            </a:extLst>
          </p:cNvPr>
          <p:cNvSpPr>
            <a:spLocks noGrp="1"/>
          </p:cNvSpPr>
          <p:nvPr>
            <p:ph type="subTitle" idx="14"/>
          </p:nvPr>
        </p:nvSpPr>
        <p:spPr bwMode="gray">
          <a:xfrm>
            <a:off x="590551" y="1035373"/>
            <a:ext cx="11000316" cy="379508"/>
          </a:xfrm>
        </p:spPr>
        <p:txBody>
          <a:bodyPr/>
          <a:lstStyle/>
          <a:p>
            <a:r>
              <a:rPr lang="es-ES" sz="2133"/>
              <a:t> ¿Qué aspecto tiene nuestra solución?</a:t>
            </a:r>
          </a:p>
          <a:p>
            <a:endParaRPr lang="en-US"/>
          </a:p>
        </p:txBody>
      </p:sp>
      <p:grpSp>
        <p:nvGrpSpPr>
          <p:cNvPr id="62" name="Gruppieren 61">
            <a:extLst>
              <a:ext uri="{FF2B5EF4-FFF2-40B4-BE49-F238E27FC236}">
                <a16:creationId xmlns:a16="http://schemas.microsoft.com/office/drawing/2014/main" id="{91E5445F-1874-4F82-B443-8E50B1412CE6}"/>
              </a:ext>
            </a:extLst>
          </p:cNvPr>
          <p:cNvGrpSpPr/>
          <p:nvPr/>
        </p:nvGrpSpPr>
        <p:grpSpPr bwMode="gray">
          <a:xfrm>
            <a:off x="11564326" y="162392"/>
            <a:ext cx="547663" cy="683491"/>
            <a:chOff x="8673244" y="121794"/>
            <a:chExt cx="410747" cy="512618"/>
          </a:xfrm>
        </p:grpSpPr>
        <p:grpSp>
          <p:nvGrpSpPr>
            <p:cNvPr id="63" name="Gruppieren 62">
              <a:extLst>
                <a:ext uri="{FF2B5EF4-FFF2-40B4-BE49-F238E27FC236}">
                  <a16:creationId xmlns:a16="http://schemas.microsoft.com/office/drawing/2014/main" id="{8726C7B7-3292-45EA-B157-41FB134B837A}"/>
                </a:ext>
              </a:extLst>
            </p:cNvPr>
            <p:cNvGrpSpPr/>
            <p:nvPr/>
          </p:nvGrpSpPr>
          <p:grpSpPr bwMode="gray">
            <a:xfrm>
              <a:off x="8673244" y="121794"/>
              <a:ext cx="410747" cy="512618"/>
              <a:chOff x="8166407" y="354405"/>
              <a:chExt cx="564701" cy="704754"/>
            </a:xfrm>
          </p:grpSpPr>
          <p:sp>
            <p:nvSpPr>
              <p:cNvPr id="65" name="Circle">
                <a:hlinkClick r:id="" action="ppaction://noaction"/>
                <a:extLst>
                  <a:ext uri="{FF2B5EF4-FFF2-40B4-BE49-F238E27FC236}">
                    <a16:creationId xmlns:a16="http://schemas.microsoft.com/office/drawing/2014/main" id="{8D606752-4732-4CDE-8FFF-517FA30CD6FA}"/>
                  </a:ext>
                </a:extLst>
              </p:cNvPr>
              <p:cNvSpPr/>
              <p:nvPr/>
            </p:nvSpPr>
            <p:spPr bwMode="gray">
              <a:xfrm>
                <a:off x="8223173" y="354405"/>
                <a:ext cx="451169" cy="451169"/>
              </a:xfrm>
              <a:prstGeom prst="ellipse">
                <a:avLst/>
              </a:prstGeom>
              <a:solidFill>
                <a:schemeClr val="tx2"/>
              </a:solidFill>
              <a:ln w="12700" cap="flat">
                <a:noFill/>
                <a:miter lim="400000"/>
              </a:ln>
              <a:effectLst>
                <a:outerShdw blurRad="38100" dist="20000" dir="3674584" rotWithShape="0">
                  <a:srgbClr val="000000">
                    <a:alpha val="23076"/>
                  </a:srgbClr>
                </a:outerShdw>
              </a:effectLst>
            </p:spPr>
            <p:txBody>
              <a:bodyPr wrap="square" lIns="62399" tIns="62399" rIns="62399" bIns="62399" numCol="1" anchor="t">
                <a:noAutofit/>
              </a:bodyPr>
              <a:lstStyle/>
              <a:p>
                <a:pPr defTabSz="1219170" hangingPunct="0"/>
                <a:endParaRPr lang="en-US" sz="2400" kern="0">
                  <a:solidFill>
                    <a:srgbClr val="000000"/>
                  </a:solidFill>
                  <a:latin typeface="Segoe UI"/>
                  <a:cs typeface="Segoe UI"/>
                  <a:sym typeface="Segoe UI"/>
                </a:endParaRPr>
              </a:p>
            </p:txBody>
          </p:sp>
          <p:sp>
            <p:nvSpPr>
              <p:cNvPr id="66" name="Rectangle 17">
                <a:extLst>
                  <a:ext uri="{FF2B5EF4-FFF2-40B4-BE49-F238E27FC236}">
                    <a16:creationId xmlns:a16="http://schemas.microsoft.com/office/drawing/2014/main" id="{2E621A8E-304C-4DEA-8F4B-3FD89AE843EB}"/>
                  </a:ext>
                </a:extLst>
              </p:cNvPr>
              <p:cNvSpPr txBox="1"/>
              <p:nvPr/>
            </p:nvSpPr>
            <p:spPr bwMode="gray">
              <a:xfrm>
                <a:off x="8166407" y="759938"/>
                <a:ext cx="564701" cy="29922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numCol="1" anchor="t">
                <a:spAutoFit/>
              </a:bodyPr>
              <a:lstStyle>
                <a:lvl1pPr algn="ctr" defTabSz="914101">
                  <a:defRPr sz="600">
                    <a:solidFill>
                      <a:srgbClr val="5C5C5C"/>
                    </a:solidFill>
                    <a:latin typeface="Henkel Milo-Regular"/>
                    <a:ea typeface="Henkel Milo-Regular"/>
                    <a:cs typeface="Henkel Milo-Regular"/>
                    <a:sym typeface="Henkel Milo-Regular"/>
                  </a:defRPr>
                </a:lvl1pPr>
              </a:lstStyle>
              <a:p>
                <a:pPr defTabSz="1218771" hangingPunct="0"/>
                <a:r>
                  <a:rPr lang="es-ES" sz="1067" kern="0">
                    <a:solidFill>
                      <a:srgbClr val="000000"/>
                    </a:solidFill>
                  </a:rPr>
                  <a:t>MENÚ</a:t>
                </a:r>
              </a:p>
            </p:txBody>
          </p:sp>
        </p:grpSp>
        <p:pic>
          <p:nvPicPr>
            <p:cNvPr id="64" name="Grafik 63" descr="Zurück mit einfarbiger Füllung">
              <a:hlinkClick r:id="" action="ppaction://noaction"/>
              <a:extLst>
                <a:ext uri="{FF2B5EF4-FFF2-40B4-BE49-F238E27FC236}">
                  <a16:creationId xmlns:a16="http://schemas.microsoft.com/office/drawing/2014/main" id="{2D65142F-5971-4646-84AE-3C162E1D07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8732841" y="132370"/>
              <a:ext cx="285750" cy="285750"/>
            </a:xfrm>
            <a:prstGeom prst="rect">
              <a:avLst/>
            </a:prstGeom>
          </p:spPr>
        </p:pic>
      </p:grpSp>
      <p:sp>
        <p:nvSpPr>
          <p:cNvPr id="59" name="Circle">
            <a:extLst>
              <a:ext uri="{FF2B5EF4-FFF2-40B4-BE49-F238E27FC236}">
                <a16:creationId xmlns:a16="http://schemas.microsoft.com/office/drawing/2014/main" id="{18822DB3-9AB2-47FD-9D81-788D1024C092}"/>
              </a:ext>
            </a:extLst>
          </p:cNvPr>
          <p:cNvSpPr/>
          <p:nvPr/>
        </p:nvSpPr>
        <p:spPr bwMode="gray">
          <a:xfrm>
            <a:off x="792351" y="2104966"/>
            <a:ext cx="478671" cy="478671"/>
          </a:xfrm>
          <a:prstGeom prst="ellipse">
            <a:avLst/>
          </a:prstGeom>
          <a:solidFill>
            <a:srgbClr val="E10413"/>
          </a:solidFill>
          <a:ln w="12700">
            <a:miter lim="400000"/>
          </a:ln>
        </p:spPr>
        <p:txBody>
          <a:bodyPr lIns="62399" tIns="62399" rIns="62399" bIns="62399" anchor="ctr"/>
          <a:lstStyle/>
          <a:p>
            <a:pPr algn="ctr" defTabSz="1219140" hangingPunct="0">
              <a:defRPr/>
            </a:pPr>
            <a:r>
              <a:rPr lang="es-ES" sz="1867" kern="0">
                <a:solidFill>
                  <a:srgbClr val="FFFFFF"/>
                </a:solidFill>
                <a:latin typeface="Segoe UI" panose="020B0502040204020203" pitchFamily="34" charset="0"/>
                <a:cs typeface="Segoe UI" panose="020B0502040204020203" pitchFamily="34" charset="0"/>
                <a:sym typeface="Segoe UI"/>
              </a:rPr>
              <a:t>1</a:t>
            </a:r>
          </a:p>
        </p:txBody>
      </p:sp>
      <p:sp>
        <p:nvSpPr>
          <p:cNvPr id="60" name="Rectangle 17">
            <a:extLst>
              <a:ext uri="{FF2B5EF4-FFF2-40B4-BE49-F238E27FC236}">
                <a16:creationId xmlns:a16="http://schemas.microsoft.com/office/drawing/2014/main" id="{CF6E9922-0DA1-4397-86CE-09F271796171}"/>
              </a:ext>
            </a:extLst>
          </p:cNvPr>
          <p:cNvSpPr txBox="1"/>
          <p:nvPr/>
        </p:nvSpPr>
        <p:spPr bwMode="gray">
          <a:xfrm>
            <a:off x="1271022" y="1944724"/>
            <a:ext cx="1694999" cy="79077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a:spAutoFit/>
          </a:bodyPr>
          <a:lstStyle/>
          <a:p>
            <a:pPr defTabSz="1218772" hangingPunct="0">
              <a:lnSpc>
                <a:spcPct val="90000"/>
              </a:lnSpc>
              <a:defRPr sz="900">
                <a:latin typeface="Industry W00 Demi"/>
                <a:ea typeface="Industry W00 Demi"/>
                <a:cs typeface="Industry W00 Demi"/>
                <a:sym typeface="Industry W00 Demi"/>
              </a:defRPr>
            </a:pPr>
            <a:r>
              <a:rPr lang="es-ES" sz="1600" kern="0">
                <a:solidFill>
                  <a:srgbClr val="000000"/>
                </a:solidFill>
                <a:latin typeface="Segoe UI" panose="020B0502040204020203" pitchFamily="34" charset="0"/>
                <a:cs typeface="Segoe UI" panose="020B0502040204020203" pitchFamily="34" charset="0"/>
                <a:sym typeface="Industry W00 Demi"/>
              </a:rPr>
              <a:t>Introducción y recopilación de datos</a:t>
            </a:r>
          </a:p>
        </p:txBody>
      </p:sp>
      <p:sp>
        <p:nvSpPr>
          <p:cNvPr id="61" name="Rectangle 17">
            <a:extLst>
              <a:ext uri="{FF2B5EF4-FFF2-40B4-BE49-F238E27FC236}">
                <a16:creationId xmlns:a16="http://schemas.microsoft.com/office/drawing/2014/main" id="{4279EF70-D8FB-4B2C-AF02-D12F8419FBEF}"/>
              </a:ext>
            </a:extLst>
          </p:cNvPr>
          <p:cNvSpPr txBox="1"/>
          <p:nvPr/>
        </p:nvSpPr>
        <p:spPr bwMode="gray">
          <a:xfrm>
            <a:off x="3547686" y="1943579"/>
            <a:ext cx="1776615" cy="56917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a:spAutoFit/>
          </a:bodyPr>
          <a:lstStyle>
            <a:lvl1pPr algn="ctr" defTabSz="914125">
              <a:lnSpc>
                <a:spcPct val="90000"/>
              </a:lnSpc>
              <a:defRPr sz="900">
                <a:latin typeface="Industry W00 Demi"/>
                <a:ea typeface="Industry W00 Demi"/>
                <a:cs typeface="Industry W00 Demi"/>
                <a:sym typeface="Industry W00 Demi"/>
              </a:defRPr>
            </a:lvl1pPr>
          </a:lstStyle>
          <a:p>
            <a:pPr algn="l" defTabSz="1218772" hangingPunct="0">
              <a:defRPr/>
            </a:pPr>
            <a:r>
              <a:rPr lang="es-ES" sz="1600" kern="0">
                <a:solidFill>
                  <a:srgbClr val="000000"/>
                </a:solidFill>
                <a:latin typeface="Segoe UI" panose="020B0502040204020203" pitchFamily="34" charset="0"/>
                <a:cs typeface="Segoe UI" panose="020B0502040204020203" pitchFamily="34" charset="0"/>
              </a:rPr>
              <a:t>Transmisión</a:t>
            </a:r>
            <a:br>
              <a:rPr lang="es-ES" sz="1600" kern="0">
                <a:solidFill>
                  <a:srgbClr val="000000"/>
                </a:solidFill>
                <a:latin typeface="Segoe UI" panose="020B0502040204020203" pitchFamily="34" charset="0"/>
                <a:cs typeface="Segoe UI" panose="020B0502040204020203" pitchFamily="34" charset="0"/>
              </a:rPr>
            </a:br>
            <a:r>
              <a:rPr lang="es-ES" sz="1600" kern="0">
                <a:solidFill>
                  <a:srgbClr val="000000"/>
                </a:solidFill>
                <a:latin typeface="Segoe UI" panose="020B0502040204020203" pitchFamily="34" charset="0"/>
                <a:cs typeface="Segoe UI" panose="020B0502040204020203" pitchFamily="34" charset="0"/>
              </a:rPr>
              <a:t>de datos</a:t>
            </a:r>
          </a:p>
        </p:txBody>
      </p:sp>
      <p:sp>
        <p:nvSpPr>
          <p:cNvPr id="67" name="Rectangle 17">
            <a:extLst>
              <a:ext uri="{FF2B5EF4-FFF2-40B4-BE49-F238E27FC236}">
                <a16:creationId xmlns:a16="http://schemas.microsoft.com/office/drawing/2014/main" id="{C433545D-495F-44D0-828D-312AA3F42E50}"/>
              </a:ext>
            </a:extLst>
          </p:cNvPr>
          <p:cNvSpPr txBox="1"/>
          <p:nvPr/>
        </p:nvSpPr>
        <p:spPr bwMode="gray">
          <a:xfrm>
            <a:off x="8844815" y="1941536"/>
            <a:ext cx="2181213" cy="34758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a:spAutoFit/>
          </a:bodyPr>
          <a:lstStyle>
            <a:lvl1pPr algn="ctr" defTabSz="914125">
              <a:lnSpc>
                <a:spcPct val="90000"/>
              </a:lnSpc>
              <a:defRPr sz="900">
                <a:latin typeface="Industry W00 Demi"/>
                <a:ea typeface="Industry W00 Demi"/>
                <a:cs typeface="Industry W00 Demi"/>
                <a:sym typeface="Industry W00 Demi"/>
              </a:defRPr>
            </a:lvl1pPr>
          </a:lstStyle>
          <a:p>
            <a:pPr algn="l" defTabSz="1218772" hangingPunct="0">
              <a:defRPr/>
            </a:pPr>
            <a:r>
              <a:rPr lang="es-ES" sz="1600" kern="0">
                <a:solidFill>
                  <a:srgbClr val="000000"/>
                </a:solidFill>
                <a:latin typeface="Segoe UI" panose="020B0502040204020203" pitchFamily="34" charset="0"/>
                <a:cs typeface="Segoe UI" panose="020B0502040204020203" pitchFamily="34" charset="0"/>
              </a:rPr>
              <a:t>Visualización de datos</a:t>
            </a:r>
          </a:p>
        </p:txBody>
      </p:sp>
      <p:sp>
        <p:nvSpPr>
          <p:cNvPr id="68" name="TextBox 40">
            <a:extLst>
              <a:ext uri="{FF2B5EF4-FFF2-40B4-BE49-F238E27FC236}">
                <a16:creationId xmlns:a16="http://schemas.microsoft.com/office/drawing/2014/main" id="{F6878730-8561-49C7-8CD1-C71950DC2FAD}"/>
              </a:ext>
            </a:extLst>
          </p:cNvPr>
          <p:cNvSpPr txBox="1"/>
          <p:nvPr/>
        </p:nvSpPr>
        <p:spPr bwMode="gray">
          <a:xfrm>
            <a:off x="5875579" y="3357683"/>
            <a:ext cx="1062428" cy="2955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0959" rIns="60959">
            <a:spAutoFit/>
          </a:bodyPr>
          <a:lstStyle>
            <a:lvl1pPr algn="ctr">
              <a:lnSpc>
                <a:spcPct val="90000"/>
              </a:lnSpc>
              <a:defRPr sz="900">
                <a:latin typeface="Henkel Milo-Regular"/>
                <a:ea typeface="Henkel Milo-Regular"/>
                <a:cs typeface="Henkel Milo-Regular"/>
                <a:sym typeface="Henkel Milo-Regular"/>
              </a:defRPr>
            </a:lvl1pPr>
          </a:lstStyle>
          <a:p>
            <a:pPr defTabSz="1219140" hangingPunct="0">
              <a:defRPr/>
            </a:pPr>
            <a:r>
              <a:rPr lang="es-ES" sz="1467" kern="0">
                <a:solidFill>
                  <a:srgbClr val="000000"/>
                </a:solidFill>
                <a:latin typeface="Segoe UI" panose="020B0502040204020203" pitchFamily="34" charset="0"/>
                <a:cs typeface="Segoe UI" panose="020B0502040204020203" pitchFamily="34" charset="0"/>
              </a:rPr>
              <a:t>Nube</a:t>
            </a:r>
          </a:p>
        </p:txBody>
      </p:sp>
      <p:sp>
        <p:nvSpPr>
          <p:cNvPr id="69" name="TextBox 40">
            <a:extLst>
              <a:ext uri="{FF2B5EF4-FFF2-40B4-BE49-F238E27FC236}">
                <a16:creationId xmlns:a16="http://schemas.microsoft.com/office/drawing/2014/main" id="{B2AF9923-19F9-4476-A987-0FE153DE12CC}"/>
              </a:ext>
            </a:extLst>
          </p:cNvPr>
          <p:cNvSpPr txBox="1"/>
          <p:nvPr/>
        </p:nvSpPr>
        <p:spPr bwMode="gray">
          <a:xfrm>
            <a:off x="3199189" y="4368542"/>
            <a:ext cx="1307576" cy="49872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lnSpc>
                <a:spcPct val="90000"/>
              </a:lnSpc>
              <a:defRPr sz="900">
                <a:latin typeface="Henkel Milo-Regular"/>
                <a:ea typeface="Henkel Milo-Regular"/>
                <a:cs typeface="Henkel Milo-Regular"/>
                <a:sym typeface="Henkel Milo-Regular"/>
              </a:defRPr>
            </a:lvl1pPr>
          </a:lstStyle>
          <a:p>
            <a:pPr defTabSz="1219140" hangingPunct="0">
              <a:defRPr/>
            </a:pPr>
            <a:r>
              <a:rPr lang="es-ES" sz="1467" kern="0">
                <a:solidFill>
                  <a:srgbClr val="000000"/>
                </a:solidFill>
                <a:latin typeface="Segoe UI" panose="020B0502040204020203" pitchFamily="34" charset="0"/>
                <a:cs typeface="Segoe UI" panose="020B0502040204020203" pitchFamily="34" charset="0"/>
              </a:rPr>
              <a:t>Dispositivo periférico</a:t>
            </a:r>
          </a:p>
        </p:txBody>
      </p:sp>
      <p:sp>
        <p:nvSpPr>
          <p:cNvPr id="70" name="TextBox 15">
            <a:extLst>
              <a:ext uri="{FF2B5EF4-FFF2-40B4-BE49-F238E27FC236}">
                <a16:creationId xmlns:a16="http://schemas.microsoft.com/office/drawing/2014/main" id="{34B70ED8-9762-4643-9E6C-15A201F6EB73}"/>
              </a:ext>
            </a:extLst>
          </p:cNvPr>
          <p:cNvSpPr txBox="1"/>
          <p:nvPr/>
        </p:nvSpPr>
        <p:spPr bwMode="gray">
          <a:xfrm>
            <a:off x="6245768" y="4751519"/>
            <a:ext cx="871805"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defRPr sz="900">
                <a:latin typeface="Henkel Milo-Regular"/>
                <a:ea typeface="Henkel Milo-Regular"/>
                <a:cs typeface="Henkel Milo-Regular"/>
                <a:sym typeface="Henkel Milo-Regular"/>
              </a:defRPr>
            </a:lvl1pPr>
          </a:lstStyle>
          <a:p>
            <a:pPr algn="l" defTabSz="1219140" hangingPunct="0">
              <a:defRPr/>
            </a:pPr>
            <a:r>
              <a:rPr lang="es-ES" sz="1467" kern="0">
                <a:solidFill>
                  <a:srgbClr val="000000"/>
                </a:solidFill>
                <a:latin typeface="Segoe UI" panose="020B0502040204020203" pitchFamily="34" charset="0"/>
                <a:cs typeface="Segoe UI" panose="020B0502040204020203" pitchFamily="34" charset="0"/>
              </a:rPr>
              <a:t>Análisis</a:t>
            </a:r>
          </a:p>
        </p:txBody>
      </p:sp>
      <p:sp>
        <p:nvSpPr>
          <p:cNvPr id="71" name="TextBox 21">
            <a:extLst>
              <a:ext uri="{FF2B5EF4-FFF2-40B4-BE49-F238E27FC236}">
                <a16:creationId xmlns:a16="http://schemas.microsoft.com/office/drawing/2014/main" id="{5C068678-42B6-4FF8-867E-D141401727EC}"/>
              </a:ext>
            </a:extLst>
          </p:cNvPr>
          <p:cNvSpPr txBox="1"/>
          <p:nvPr/>
        </p:nvSpPr>
        <p:spPr bwMode="gray">
          <a:xfrm>
            <a:off x="9701865" y="4698838"/>
            <a:ext cx="1625768"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defRPr sz="900">
                <a:latin typeface="Henkel Milo-Regular"/>
                <a:ea typeface="Henkel Milo-Regular"/>
                <a:cs typeface="Henkel Milo-Regular"/>
                <a:sym typeface="Henkel Milo-Regular"/>
              </a:defRPr>
            </a:lvl1pPr>
          </a:lstStyle>
          <a:p>
            <a:pPr algn="l" defTabSz="1219140" hangingPunct="0">
              <a:defRPr/>
            </a:pPr>
            <a:r>
              <a:rPr lang="es-ES" sz="1467" kern="0">
                <a:solidFill>
                  <a:srgbClr val="000000"/>
                </a:solidFill>
                <a:latin typeface="Segoe UI" panose="020B0502040204020203" pitchFamily="34" charset="0"/>
                <a:cs typeface="Segoe UI" panose="020B0502040204020203" pitchFamily="34" charset="0"/>
              </a:rPr>
              <a:t>Recomendación</a:t>
            </a:r>
          </a:p>
        </p:txBody>
      </p:sp>
      <p:pic>
        <p:nvPicPr>
          <p:cNvPr id="72" name="Image" descr="Image">
            <a:extLst>
              <a:ext uri="{FF2B5EF4-FFF2-40B4-BE49-F238E27FC236}">
                <a16:creationId xmlns:a16="http://schemas.microsoft.com/office/drawing/2014/main" id="{158FF52B-060E-4EB0-BF23-48FFCAB0046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bwMode="gray">
          <a:xfrm>
            <a:off x="9989836" y="4186103"/>
            <a:ext cx="465203" cy="465432"/>
          </a:xfrm>
          <a:prstGeom prst="rect">
            <a:avLst/>
          </a:prstGeom>
          <a:ln w="12700">
            <a:miter lim="400000"/>
          </a:ln>
        </p:spPr>
      </p:pic>
      <p:sp>
        <p:nvSpPr>
          <p:cNvPr id="73" name="TextBox 21">
            <a:extLst>
              <a:ext uri="{FF2B5EF4-FFF2-40B4-BE49-F238E27FC236}">
                <a16:creationId xmlns:a16="http://schemas.microsoft.com/office/drawing/2014/main" id="{0825DDF0-98AF-44A8-AB30-0215AD452F33}"/>
              </a:ext>
            </a:extLst>
          </p:cNvPr>
          <p:cNvSpPr txBox="1"/>
          <p:nvPr/>
        </p:nvSpPr>
        <p:spPr bwMode="gray">
          <a:xfrm>
            <a:off x="8304100" y="3572238"/>
            <a:ext cx="1379456"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0959" rIns="60959">
            <a:spAutoFit/>
          </a:bodyPr>
          <a:lstStyle>
            <a:lvl1pPr algn="ctr">
              <a:defRPr sz="900">
                <a:latin typeface="Henkel Milo-Regular"/>
                <a:ea typeface="Henkel Milo-Regular"/>
                <a:cs typeface="Henkel Milo-Regular"/>
                <a:sym typeface="Henkel Milo-Regular"/>
              </a:defRPr>
            </a:lvl1pPr>
          </a:lstStyle>
          <a:p>
            <a:pPr defTabSz="1219140" hangingPunct="0">
              <a:defRPr/>
            </a:pPr>
            <a:r>
              <a:rPr lang="es-ES" sz="1467" kern="0">
                <a:solidFill>
                  <a:srgbClr val="000000"/>
                </a:solidFill>
                <a:latin typeface="Segoe UI" panose="020B0502040204020203" pitchFamily="34" charset="0"/>
                <a:cs typeface="Segoe UI" panose="020B0502040204020203" pitchFamily="34" charset="0"/>
              </a:rPr>
              <a:t>Panel</a:t>
            </a:r>
          </a:p>
        </p:txBody>
      </p:sp>
      <p:sp>
        <p:nvSpPr>
          <p:cNvPr id="74" name="TextBox 21">
            <a:extLst>
              <a:ext uri="{FF2B5EF4-FFF2-40B4-BE49-F238E27FC236}">
                <a16:creationId xmlns:a16="http://schemas.microsoft.com/office/drawing/2014/main" id="{6E372311-E5DE-49EC-B055-4242E9F53F90}"/>
              </a:ext>
            </a:extLst>
          </p:cNvPr>
          <p:cNvSpPr txBox="1"/>
          <p:nvPr/>
        </p:nvSpPr>
        <p:spPr bwMode="gray">
          <a:xfrm>
            <a:off x="9538078" y="3684727"/>
            <a:ext cx="1196585"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0959" rIns="60959">
            <a:spAutoFit/>
          </a:bodyPr>
          <a:lstStyle>
            <a:lvl1pPr algn="ctr">
              <a:defRPr sz="900">
                <a:latin typeface="Henkel Milo-Regular"/>
                <a:ea typeface="Henkel Milo-Regular"/>
                <a:cs typeface="Henkel Milo-Regular"/>
                <a:sym typeface="Henkel Milo-Regular"/>
              </a:defRPr>
            </a:lvl1pPr>
          </a:lstStyle>
          <a:p>
            <a:pPr defTabSz="1219140" hangingPunct="0">
              <a:defRPr/>
            </a:pPr>
            <a:r>
              <a:rPr lang="es-ES" sz="1467" kern="0">
                <a:solidFill>
                  <a:srgbClr val="000000"/>
                </a:solidFill>
                <a:latin typeface="Segoe UI" panose="020B0502040204020203" pitchFamily="34" charset="0"/>
                <a:cs typeface="Segoe UI" panose="020B0502040204020203" pitchFamily="34" charset="0"/>
              </a:rPr>
              <a:t>Notificación</a:t>
            </a:r>
          </a:p>
        </p:txBody>
      </p:sp>
      <p:grpSp>
        <p:nvGrpSpPr>
          <p:cNvPr id="75" name="Group 74">
            <a:extLst>
              <a:ext uri="{FF2B5EF4-FFF2-40B4-BE49-F238E27FC236}">
                <a16:creationId xmlns:a16="http://schemas.microsoft.com/office/drawing/2014/main" id="{00AF67FD-7DB8-45ED-A506-8C0663495F13}"/>
              </a:ext>
            </a:extLst>
          </p:cNvPr>
          <p:cNvGrpSpPr/>
          <p:nvPr/>
        </p:nvGrpSpPr>
        <p:grpSpPr bwMode="gray">
          <a:xfrm>
            <a:off x="1101479" y="2834221"/>
            <a:ext cx="602296" cy="546380"/>
            <a:chOff x="826109" y="1906590"/>
            <a:chExt cx="451722" cy="409785"/>
          </a:xfrm>
        </p:grpSpPr>
        <p:pic>
          <p:nvPicPr>
            <p:cNvPr id="76" name="Smart Tank Black.png" descr="Smart Tank Black.png">
              <a:extLst>
                <a:ext uri="{FF2B5EF4-FFF2-40B4-BE49-F238E27FC236}">
                  <a16:creationId xmlns:a16="http://schemas.microsoft.com/office/drawing/2014/main" id="{5560B08F-8BDD-4675-9471-E4BFAB393282}"/>
                </a:ext>
              </a:extLst>
            </p:cNvPr>
            <p:cNvPicPr>
              <a:picLocks noChangeAspect="1"/>
            </p:cNvPicPr>
            <p:nvPr/>
          </p:nvPicPr>
          <p:blipFill>
            <a:blip r:embed="rId8"/>
            <a:stretch>
              <a:fillRect/>
            </a:stretch>
          </p:blipFill>
          <p:spPr bwMode="gray">
            <a:xfrm>
              <a:off x="868045" y="1906590"/>
              <a:ext cx="409786" cy="409785"/>
            </a:xfrm>
            <a:prstGeom prst="rect">
              <a:avLst/>
            </a:prstGeom>
            <a:ln w="12700">
              <a:miter lim="400000"/>
            </a:ln>
          </p:spPr>
        </p:pic>
        <p:pic>
          <p:nvPicPr>
            <p:cNvPr id="77" name="Image" descr="Image">
              <a:extLst>
                <a:ext uri="{FF2B5EF4-FFF2-40B4-BE49-F238E27FC236}">
                  <a16:creationId xmlns:a16="http://schemas.microsoft.com/office/drawing/2014/main" id="{6E1827B4-D956-4BC7-8560-195878DBEC32}"/>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bwMode="gray">
            <a:xfrm>
              <a:off x="826109" y="2096377"/>
              <a:ext cx="138098" cy="138098"/>
            </a:xfrm>
            <a:prstGeom prst="rect">
              <a:avLst/>
            </a:prstGeom>
            <a:ln w="12700">
              <a:miter lim="400000"/>
            </a:ln>
          </p:spPr>
        </p:pic>
      </p:grpSp>
      <p:pic>
        <p:nvPicPr>
          <p:cNvPr id="78" name="Image" descr="Image">
            <a:extLst>
              <a:ext uri="{FF2B5EF4-FFF2-40B4-BE49-F238E27FC236}">
                <a16:creationId xmlns:a16="http://schemas.microsoft.com/office/drawing/2014/main" id="{1D300443-F7F2-4DFB-9008-4100F4E755A9}"/>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bwMode="gray">
          <a:xfrm>
            <a:off x="9922435" y="2941441"/>
            <a:ext cx="445183" cy="767243"/>
          </a:xfrm>
          <a:prstGeom prst="rect">
            <a:avLst/>
          </a:prstGeom>
          <a:ln w="12700">
            <a:miter lim="400000"/>
          </a:ln>
        </p:spPr>
      </p:pic>
      <p:pic>
        <p:nvPicPr>
          <p:cNvPr id="79" name="Image 110">
            <a:extLst>
              <a:ext uri="{FF2B5EF4-FFF2-40B4-BE49-F238E27FC236}">
                <a16:creationId xmlns:a16="http://schemas.microsoft.com/office/drawing/2014/main" id="{DCDE42E2-AC7E-42A6-AFA6-03737F0138A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bwMode="gray">
          <a:xfrm>
            <a:off x="8581118" y="2874599"/>
            <a:ext cx="825420" cy="825420"/>
          </a:xfrm>
          <a:prstGeom prst="rect">
            <a:avLst/>
          </a:prstGeom>
        </p:spPr>
      </p:pic>
      <mc:AlternateContent xmlns:mc="http://schemas.openxmlformats.org/markup-compatibility/2006" xmlns:p14="http://schemas.microsoft.com/office/powerpoint/2010/main">
        <mc:Choice Requires="p14">
          <p:contentPart p14:bwMode="gray" r:id="rId12">
            <p14:nvContentPartPr>
              <p14:cNvPr id="80" name="Freihand 32">
                <a:extLst>
                  <a:ext uri="{FF2B5EF4-FFF2-40B4-BE49-F238E27FC236}">
                    <a16:creationId xmlns:a16="http://schemas.microsoft.com/office/drawing/2014/main" id="{94E8B289-8F65-4EC6-B98B-8EA778705859}"/>
                  </a:ext>
                </a:extLst>
              </p14:cNvPr>
              <p14:cNvContentPartPr/>
              <p14:nvPr/>
            </p14:nvContentPartPr>
            <p14:xfrm>
              <a:off x="2493597" y="3896508"/>
              <a:ext cx="480" cy="480"/>
            </p14:xfrm>
          </p:contentPart>
        </mc:Choice>
        <mc:Fallback xmlns="">
          <p:pic>
            <p:nvPicPr>
              <p:cNvPr id="80" name="Freihand 32">
                <a:extLst>
                  <a:ext uri="{FF2B5EF4-FFF2-40B4-BE49-F238E27FC236}">
                    <a16:creationId xmlns:a16="http://schemas.microsoft.com/office/drawing/2014/main" id="{94E8B289-8F65-4EC6-B98B-8EA778705859}"/>
                  </a:ext>
                </a:extLst>
              </p:cNvPr>
              <p:cNvPicPr/>
              <p:nvPr/>
            </p:nvPicPr>
            <p:blipFill>
              <a:blip r:embed="rId13"/>
              <a:stretch>
                <a:fillRect/>
              </a:stretch>
            </p:blipFill>
            <p:spPr>
              <a:xfrm>
                <a:off x="2481597" y="3884508"/>
                <a:ext cx="24000" cy="24000"/>
              </a:xfrm>
              <a:prstGeom prst="rect">
                <a:avLst/>
              </a:prstGeom>
            </p:spPr>
          </p:pic>
        </mc:Fallback>
      </mc:AlternateContent>
      <mc:AlternateContent xmlns:mc="http://schemas.openxmlformats.org/markup-compatibility/2006" xmlns:p14="http://schemas.microsoft.com/office/powerpoint/2010/main">
        <mc:Choice Requires="p14">
          <p:contentPart p14:bwMode="gray" r:id="rId14">
            <p14:nvContentPartPr>
              <p14:cNvPr id="81" name="Freihand 33">
                <a:extLst>
                  <a:ext uri="{FF2B5EF4-FFF2-40B4-BE49-F238E27FC236}">
                    <a16:creationId xmlns:a16="http://schemas.microsoft.com/office/drawing/2014/main" id="{E8C41E7F-55C7-4723-99E8-85EE4BE960BF}"/>
                  </a:ext>
                </a:extLst>
              </p14:cNvPr>
              <p14:cNvContentPartPr/>
              <p14:nvPr/>
            </p14:nvContentPartPr>
            <p14:xfrm>
              <a:off x="2279706" y="3752338"/>
              <a:ext cx="813845" cy="312597"/>
            </p14:xfrm>
          </p:contentPart>
        </mc:Choice>
        <mc:Fallback xmlns="">
          <p:pic>
            <p:nvPicPr>
              <p:cNvPr id="81" name="Freihand 33">
                <a:extLst>
                  <a:ext uri="{FF2B5EF4-FFF2-40B4-BE49-F238E27FC236}">
                    <a16:creationId xmlns:a16="http://schemas.microsoft.com/office/drawing/2014/main" id="{E8C41E7F-55C7-4723-99E8-85EE4BE960BF}"/>
                  </a:ext>
                </a:extLst>
              </p:cNvPr>
              <p:cNvPicPr/>
              <p:nvPr/>
            </p:nvPicPr>
            <p:blipFill>
              <a:blip r:embed="rId15"/>
              <a:stretch>
                <a:fillRect/>
              </a:stretch>
            </p:blipFill>
            <p:spPr>
              <a:xfrm>
                <a:off x="2270703" y="3743345"/>
                <a:ext cx="831490" cy="330223"/>
              </a:xfrm>
              <a:prstGeom prst="rect">
                <a:avLst/>
              </a:prstGeom>
            </p:spPr>
          </p:pic>
        </mc:Fallback>
      </mc:AlternateContent>
      <p:grpSp>
        <p:nvGrpSpPr>
          <p:cNvPr id="82" name="Gruppieren 57">
            <a:extLst>
              <a:ext uri="{FF2B5EF4-FFF2-40B4-BE49-F238E27FC236}">
                <a16:creationId xmlns:a16="http://schemas.microsoft.com/office/drawing/2014/main" id="{FED661F4-1F7C-4C22-A935-BE3B5A519300}"/>
              </a:ext>
            </a:extLst>
          </p:cNvPr>
          <p:cNvGrpSpPr/>
          <p:nvPr/>
        </p:nvGrpSpPr>
        <p:grpSpPr bwMode="gray">
          <a:xfrm>
            <a:off x="5263064" y="1940958"/>
            <a:ext cx="1795947" cy="637365"/>
            <a:chOff x="4611430" y="1236644"/>
            <a:chExt cx="1346960" cy="478024"/>
          </a:xfrm>
        </p:grpSpPr>
        <p:sp>
          <p:nvSpPr>
            <p:cNvPr id="83" name="Rectangle 17">
              <a:extLst>
                <a:ext uri="{FF2B5EF4-FFF2-40B4-BE49-F238E27FC236}">
                  <a16:creationId xmlns:a16="http://schemas.microsoft.com/office/drawing/2014/main" id="{CD699A66-867E-47B6-85BF-A579E2C38185}"/>
                </a:ext>
              </a:extLst>
            </p:cNvPr>
            <p:cNvSpPr txBox="1"/>
            <p:nvPr/>
          </p:nvSpPr>
          <p:spPr bwMode="gray">
            <a:xfrm>
              <a:off x="4967409" y="1236644"/>
              <a:ext cx="990981" cy="42688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2381" tIns="62381" rIns="62381" bIns="62381">
              <a:spAutoFit/>
            </a:bodyPr>
            <a:lstStyle>
              <a:lvl1pPr defTabSz="914125">
                <a:lnSpc>
                  <a:spcPct val="90000"/>
                </a:lnSpc>
                <a:defRPr sz="900">
                  <a:latin typeface="Industry W00 Demi"/>
                  <a:ea typeface="Industry W00 Demi"/>
                  <a:cs typeface="Industry W00 Demi"/>
                  <a:sym typeface="Industry W00 Demi"/>
                </a:defRPr>
              </a:lvl1pPr>
            </a:lstStyle>
            <a:p>
              <a:pPr defTabSz="1218772" hangingPunct="0">
                <a:defRPr/>
              </a:pPr>
              <a:r>
                <a:rPr lang="es-ES" sz="1600" kern="0">
                  <a:solidFill>
                    <a:srgbClr val="000000"/>
                  </a:solidFill>
                  <a:latin typeface="Segoe UI" panose="020B0502040204020203" pitchFamily="34" charset="0"/>
                  <a:cs typeface="Segoe UI" panose="020B0502040204020203" pitchFamily="34" charset="0"/>
                </a:rPr>
                <a:t>Análisis de datos</a:t>
              </a:r>
            </a:p>
          </p:txBody>
        </p:sp>
        <p:sp>
          <p:nvSpPr>
            <p:cNvPr id="84" name="Circle">
              <a:extLst>
                <a:ext uri="{FF2B5EF4-FFF2-40B4-BE49-F238E27FC236}">
                  <a16:creationId xmlns:a16="http://schemas.microsoft.com/office/drawing/2014/main" id="{6F629B2F-4F8C-49C4-B6DA-6D396A0915C4}"/>
                </a:ext>
              </a:extLst>
            </p:cNvPr>
            <p:cNvSpPr/>
            <p:nvPr/>
          </p:nvSpPr>
          <p:spPr bwMode="gray">
            <a:xfrm>
              <a:off x="4611430" y="1355665"/>
              <a:ext cx="359003" cy="359003"/>
            </a:xfrm>
            <a:prstGeom prst="ellipse">
              <a:avLst/>
            </a:prstGeom>
            <a:solidFill>
              <a:srgbClr val="E10413"/>
            </a:solidFill>
            <a:ln w="12700">
              <a:miter lim="400000"/>
            </a:ln>
          </p:spPr>
          <p:txBody>
            <a:bodyPr lIns="62399" tIns="62399" rIns="62399" bIns="62399" anchor="ctr"/>
            <a:lstStyle/>
            <a:p>
              <a:pPr algn="ctr" defTabSz="1219140" hangingPunct="0">
                <a:defRPr/>
              </a:pPr>
              <a:r>
                <a:rPr lang="es-ES" sz="1867" kern="0">
                  <a:solidFill>
                    <a:srgbClr val="FFFFFF"/>
                  </a:solidFill>
                  <a:latin typeface="Segoe UI" panose="020B0502040204020203" pitchFamily="34" charset="0"/>
                  <a:cs typeface="Segoe UI" panose="020B0502040204020203" pitchFamily="34" charset="0"/>
                  <a:sym typeface="Segoe UI"/>
                </a:rPr>
                <a:t>3</a:t>
              </a:r>
            </a:p>
          </p:txBody>
        </p:sp>
      </p:grpSp>
      <p:sp>
        <p:nvSpPr>
          <p:cNvPr id="85" name="Circle">
            <a:extLst>
              <a:ext uri="{FF2B5EF4-FFF2-40B4-BE49-F238E27FC236}">
                <a16:creationId xmlns:a16="http://schemas.microsoft.com/office/drawing/2014/main" id="{D9568C3E-09EE-40B5-9830-CCE4CD19B2F8}"/>
              </a:ext>
            </a:extLst>
          </p:cNvPr>
          <p:cNvSpPr/>
          <p:nvPr/>
        </p:nvSpPr>
        <p:spPr bwMode="gray">
          <a:xfrm>
            <a:off x="3056770" y="2105699"/>
            <a:ext cx="478671" cy="478671"/>
          </a:xfrm>
          <a:prstGeom prst="ellipse">
            <a:avLst/>
          </a:prstGeom>
          <a:solidFill>
            <a:srgbClr val="E10413"/>
          </a:solidFill>
          <a:ln w="12700">
            <a:miter lim="400000"/>
          </a:ln>
        </p:spPr>
        <p:txBody>
          <a:bodyPr lIns="62399" tIns="62399" rIns="62399" bIns="62399" anchor="ctr"/>
          <a:lstStyle/>
          <a:p>
            <a:pPr algn="ctr" defTabSz="1219140" hangingPunct="0">
              <a:defRPr/>
            </a:pPr>
            <a:r>
              <a:rPr lang="es-ES" sz="1867" kern="0">
                <a:solidFill>
                  <a:srgbClr val="FFFFFF"/>
                </a:solidFill>
                <a:latin typeface="Segoe UI" panose="020B0502040204020203" pitchFamily="34" charset="0"/>
                <a:cs typeface="Segoe UI" panose="020B0502040204020203" pitchFamily="34" charset="0"/>
                <a:sym typeface="Segoe UI"/>
              </a:rPr>
              <a:t>2</a:t>
            </a:r>
          </a:p>
        </p:txBody>
      </p:sp>
      <p:sp>
        <p:nvSpPr>
          <p:cNvPr id="86" name="Circle">
            <a:extLst>
              <a:ext uri="{FF2B5EF4-FFF2-40B4-BE49-F238E27FC236}">
                <a16:creationId xmlns:a16="http://schemas.microsoft.com/office/drawing/2014/main" id="{AA2C7BEF-8495-41F6-8BA8-8209BCFBFC83}"/>
              </a:ext>
            </a:extLst>
          </p:cNvPr>
          <p:cNvSpPr/>
          <p:nvPr/>
        </p:nvSpPr>
        <p:spPr bwMode="gray">
          <a:xfrm>
            <a:off x="8376289" y="2104966"/>
            <a:ext cx="478671" cy="478671"/>
          </a:xfrm>
          <a:prstGeom prst="ellipse">
            <a:avLst/>
          </a:prstGeom>
          <a:solidFill>
            <a:srgbClr val="E10413"/>
          </a:solidFill>
          <a:ln w="12700">
            <a:miter lim="400000"/>
          </a:ln>
        </p:spPr>
        <p:txBody>
          <a:bodyPr lIns="62399" tIns="62399" rIns="62399" bIns="62399" anchor="ctr"/>
          <a:lstStyle/>
          <a:p>
            <a:pPr algn="ctr" defTabSz="1219140" hangingPunct="0">
              <a:defRPr/>
            </a:pPr>
            <a:r>
              <a:rPr lang="es-ES" sz="1867" kern="0">
                <a:solidFill>
                  <a:srgbClr val="FFFFFF"/>
                </a:solidFill>
                <a:latin typeface="Segoe UI" panose="020B0502040204020203" pitchFamily="34" charset="0"/>
                <a:cs typeface="Segoe UI" panose="020B0502040204020203" pitchFamily="34" charset="0"/>
                <a:sym typeface="Segoe UI"/>
              </a:rPr>
              <a:t>4</a:t>
            </a:r>
          </a:p>
        </p:txBody>
      </p:sp>
      <p:grpSp>
        <p:nvGrpSpPr>
          <p:cNvPr id="87" name="Gruppieren 115">
            <a:extLst>
              <a:ext uri="{FF2B5EF4-FFF2-40B4-BE49-F238E27FC236}">
                <a16:creationId xmlns:a16="http://schemas.microsoft.com/office/drawing/2014/main" id="{B9899AC9-A201-41A9-9D3A-04B86EEDE265}"/>
              </a:ext>
            </a:extLst>
          </p:cNvPr>
          <p:cNvGrpSpPr/>
          <p:nvPr/>
        </p:nvGrpSpPr>
        <p:grpSpPr bwMode="gray">
          <a:xfrm rot="572858">
            <a:off x="4422378" y="3033080"/>
            <a:ext cx="989893" cy="695040"/>
            <a:chOff x="3477037" y="2637579"/>
            <a:chExt cx="963000" cy="521280"/>
          </a:xfrm>
        </p:grpSpPr>
        <mc:AlternateContent xmlns:mc="http://schemas.openxmlformats.org/markup-compatibility/2006" xmlns:p14="http://schemas.microsoft.com/office/powerpoint/2010/main">
          <mc:Choice Requires="p14">
            <p:contentPart p14:bwMode="gray" r:id="rId16">
              <p14:nvContentPartPr>
                <p14:cNvPr id="88" name="Freihand 112">
                  <a:extLst>
                    <a:ext uri="{FF2B5EF4-FFF2-40B4-BE49-F238E27FC236}">
                      <a16:creationId xmlns:a16="http://schemas.microsoft.com/office/drawing/2014/main" id="{FDA33031-44FE-4891-8EA9-EC8CF8CC1DC7}"/>
                    </a:ext>
                  </a:extLst>
                </p14:cNvPr>
                <p14:cNvContentPartPr/>
                <p14:nvPr/>
              </p14:nvContentPartPr>
              <p14:xfrm>
                <a:off x="3477037" y="2678259"/>
                <a:ext cx="941760" cy="480600"/>
              </p14:xfrm>
            </p:contentPart>
          </mc:Choice>
          <mc:Fallback xmlns="">
            <p:pic>
              <p:nvPicPr>
                <p:cNvPr id="88" name="Freihand 112">
                  <a:extLst>
                    <a:ext uri="{FF2B5EF4-FFF2-40B4-BE49-F238E27FC236}">
                      <a16:creationId xmlns:a16="http://schemas.microsoft.com/office/drawing/2014/main" id="{FDA33031-44FE-4891-8EA9-EC8CF8CC1DC7}"/>
                    </a:ext>
                  </a:extLst>
                </p:cNvPr>
                <p:cNvPicPr/>
                <p:nvPr/>
              </p:nvPicPr>
              <p:blipFill>
                <a:blip r:embed="rId18"/>
                <a:stretch>
                  <a:fillRect/>
                </a:stretch>
              </p:blipFill>
              <p:spPr>
                <a:xfrm>
                  <a:off x="3465370" y="2669252"/>
                  <a:ext cx="964627" cy="498253"/>
                </a:xfrm>
                <a:prstGeom prst="rect">
                  <a:avLst/>
                </a:prstGeom>
              </p:spPr>
            </p:pic>
          </mc:Fallback>
        </mc:AlternateContent>
        <mc:AlternateContent xmlns:mc="http://schemas.openxmlformats.org/markup-compatibility/2006" xmlns:p14="http://schemas.microsoft.com/office/powerpoint/2010/main">
          <mc:Choice Requires="p14">
            <p:contentPart p14:bwMode="gray" r:id="rId19">
              <p14:nvContentPartPr>
                <p14:cNvPr id="89" name="Freihand 113">
                  <a:extLst>
                    <a:ext uri="{FF2B5EF4-FFF2-40B4-BE49-F238E27FC236}">
                      <a16:creationId xmlns:a16="http://schemas.microsoft.com/office/drawing/2014/main" id="{D0A0A842-7DD8-41C8-82C0-4DC7B31BD24D}"/>
                    </a:ext>
                  </a:extLst>
                </p14:cNvPr>
                <p14:cNvContentPartPr/>
                <p14:nvPr/>
              </p14:nvContentPartPr>
              <p14:xfrm>
                <a:off x="4238077" y="2637579"/>
                <a:ext cx="195480" cy="40680"/>
              </p14:xfrm>
            </p:contentPart>
          </mc:Choice>
          <mc:Fallback xmlns="">
            <p:pic>
              <p:nvPicPr>
                <p:cNvPr id="89" name="Freihand 113">
                  <a:extLst>
                    <a:ext uri="{FF2B5EF4-FFF2-40B4-BE49-F238E27FC236}">
                      <a16:creationId xmlns:a16="http://schemas.microsoft.com/office/drawing/2014/main" id="{D0A0A842-7DD8-41C8-82C0-4DC7B31BD24D}"/>
                    </a:ext>
                  </a:extLst>
                </p:cNvPr>
                <p:cNvPicPr/>
                <p:nvPr/>
              </p:nvPicPr>
              <p:blipFill>
                <a:blip r:embed="rId20"/>
                <a:stretch>
                  <a:fillRect/>
                </a:stretch>
              </p:blipFill>
              <p:spPr>
                <a:xfrm>
                  <a:off x="4226441" y="2628499"/>
                  <a:ext cx="218286" cy="58478"/>
                </a:xfrm>
                <a:prstGeom prst="rect">
                  <a:avLst/>
                </a:prstGeom>
              </p:spPr>
            </p:pic>
          </mc:Fallback>
        </mc:AlternateContent>
        <mc:AlternateContent xmlns:mc="http://schemas.openxmlformats.org/markup-compatibility/2006" xmlns:p14="http://schemas.microsoft.com/office/powerpoint/2010/main">
          <mc:Choice Requires="p14">
            <p:contentPart p14:bwMode="gray" r:id="rId21">
              <p14:nvContentPartPr>
                <p14:cNvPr id="90" name="Freihand 114">
                  <a:extLst>
                    <a:ext uri="{FF2B5EF4-FFF2-40B4-BE49-F238E27FC236}">
                      <a16:creationId xmlns:a16="http://schemas.microsoft.com/office/drawing/2014/main" id="{F93E67C6-0703-430D-A3C5-ED749842FB85}"/>
                    </a:ext>
                  </a:extLst>
                </p14:cNvPr>
                <p14:cNvContentPartPr/>
                <p14:nvPr/>
              </p14:nvContentPartPr>
              <p14:xfrm>
                <a:off x="4394317" y="2648019"/>
                <a:ext cx="45720" cy="203040"/>
              </p14:xfrm>
            </p:contentPart>
          </mc:Choice>
          <mc:Fallback xmlns="">
            <p:pic>
              <p:nvPicPr>
                <p:cNvPr id="90" name="Freihand 114">
                  <a:extLst>
                    <a:ext uri="{FF2B5EF4-FFF2-40B4-BE49-F238E27FC236}">
                      <a16:creationId xmlns:a16="http://schemas.microsoft.com/office/drawing/2014/main" id="{F93E67C6-0703-430D-A3C5-ED749842FB85}"/>
                    </a:ext>
                  </a:extLst>
                </p:cNvPr>
                <p:cNvPicPr/>
                <p:nvPr/>
              </p:nvPicPr>
              <p:blipFill>
                <a:blip r:embed="rId22"/>
                <a:stretch>
                  <a:fillRect/>
                </a:stretch>
              </p:blipFill>
              <p:spPr>
                <a:xfrm>
                  <a:off x="4382533" y="2639019"/>
                  <a:ext cx="68816" cy="220680"/>
                </a:xfrm>
                <a:prstGeom prst="rect">
                  <a:avLst/>
                </a:prstGeom>
              </p:spPr>
            </p:pic>
          </mc:Fallback>
        </mc:AlternateContent>
      </p:grpSp>
      <p:sp>
        <p:nvSpPr>
          <p:cNvPr id="91" name="TextBox 15">
            <a:extLst>
              <a:ext uri="{FF2B5EF4-FFF2-40B4-BE49-F238E27FC236}">
                <a16:creationId xmlns:a16="http://schemas.microsoft.com/office/drawing/2014/main" id="{C13F9518-7FE3-4A55-82CC-1A05717E2108}"/>
              </a:ext>
            </a:extLst>
          </p:cNvPr>
          <p:cNvSpPr txBox="1"/>
          <p:nvPr/>
        </p:nvSpPr>
        <p:spPr bwMode="gray">
          <a:xfrm>
            <a:off x="6259800" y="4370818"/>
            <a:ext cx="1625768"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defRPr sz="900">
                <a:latin typeface="Henkel Milo-Regular"/>
                <a:ea typeface="Henkel Milo-Regular"/>
                <a:cs typeface="Henkel Milo-Regular"/>
                <a:sym typeface="Henkel Milo-Regular"/>
              </a:defRPr>
            </a:lvl1pPr>
          </a:lstStyle>
          <a:p>
            <a:pPr algn="l" defTabSz="1219140" hangingPunct="0">
              <a:defRPr/>
            </a:pPr>
            <a:r>
              <a:rPr lang="es-ES" sz="1467" kern="0">
                <a:solidFill>
                  <a:srgbClr val="000000"/>
                </a:solidFill>
                <a:latin typeface="Segoe UI" panose="020B0502040204020203" pitchFamily="34" charset="0"/>
                <a:cs typeface="Segoe UI" panose="020B0502040204020203" pitchFamily="34" charset="0"/>
              </a:rPr>
              <a:t>Almacenamiento</a:t>
            </a:r>
          </a:p>
        </p:txBody>
      </p:sp>
      <p:pic>
        <p:nvPicPr>
          <p:cNvPr id="92" name="Grafik 119">
            <a:extLst>
              <a:ext uri="{FF2B5EF4-FFF2-40B4-BE49-F238E27FC236}">
                <a16:creationId xmlns:a16="http://schemas.microsoft.com/office/drawing/2014/main" id="{6BA8064A-C3FC-4B92-9162-73E2AA43E57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bwMode="gray">
          <a:xfrm>
            <a:off x="5720876" y="4394156"/>
            <a:ext cx="348813" cy="348813"/>
          </a:xfrm>
          <a:prstGeom prst="rect">
            <a:avLst/>
          </a:prstGeom>
        </p:spPr>
      </p:pic>
      <p:sp>
        <p:nvSpPr>
          <p:cNvPr id="93" name="Grafik 4">
            <a:extLst>
              <a:ext uri="{FF2B5EF4-FFF2-40B4-BE49-F238E27FC236}">
                <a16:creationId xmlns:a16="http://schemas.microsoft.com/office/drawing/2014/main" id="{3C1BD8DD-9036-4BDC-8C19-A8F46BD0E92E}"/>
              </a:ext>
            </a:extLst>
          </p:cNvPr>
          <p:cNvSpPr/>
          <p:nvPr/>
        </p:nvSpPr>
        <p:spPr bwMode="gray">
          <a:xfrm>
            <a:off x="5741428" y="4026486"/>
            <a:ext cx="246681" cy="319233"/>
          </a:xfrm>
          <a:custGeom>
            <a:avLst/>
            <a:gdLst>
              <a:gd name="connsiteX0" fmla="*/ 161925 w 323850"/>
              <a:gd name="connsiteY0" fmla="*/ 0 h 419100"/>
              <a:gd name="connsiteX1" fmla="*/ 257175 w 323850"/>
              <a:gd name="connsiteY1" fmla="*/ 95250 h 419100"/>
              <a:gd name="connsiteX2" fmla="*/ 257192 w 323850"/>
              <a:gd name="connsiteY2" fmla="*/ 152667 h 419100"/>
              <a:gd name="connsiteX3" fmla="*/ 289260 w 323850"/>
              <a:gd name="connsiteY3" fmla="*/ 160866 h 419100"/>
              <a:gd name="connsiteX4" fmla="*/ 315384 w 323850"/>
              <a:gd name="connsiteY4" fmla="*/ 186990 h 419100"/>
              <a:gd name="connsiteX5" fmla="*/ 323850 w 323850"/>
              <a:gd name="connsiteY5" fmla="*/ 229817 h 419100"/>
              <a:gd name="connsiteX6" fmla="*/ 323850 w 323850"/>
              <a:gd name="connsiteY6" fmla="*/ 341683 h 419100"/>
              <a:gd name="connsiteX7" fmla="*/ 315384 w 323850"/>
              <a:gd name="connsiteY7" fmla="*/ 384510 h 419100"/>
              <a:gd name="connsiteX8" fmla="*/ 289260 w 323850"/>
              <a:gd name="connsiteY8" fmla="*/ 410634 h 419100"/>
              <a:gd name="connsiteX9" fmla="*/ 246433 w 323850"/>
              <a:gd name="connsiteY9" fmla="*/ 419100 h 419100"/>
              <a:gd name="connsiteX10" fmla="*/ 77417 w 323850"/>
              <a:gd name="connsiteY10" fmla="*/ 419100 h 419100"/>
              <a:gd name="connsiteX11" fmla="*/ 34590 w 323850"/>
              <a:gd name="connsiteY11" fmla="*/ 410634 h 419100"/>
              <a:gd name="connsiteX12" fmla="*/ 8466 w 323850"/>
              <a:gd name="connsiteY12" fmla="*/ 384510 h 419100"/>
              <a:gd name="connsiteX13" fmla="*/ 0 w 323850"/>
              <a:gd name="connsiteY13" fmla="*/ 341683 h 419100"/>
              <a:gd name="connsiteX14" fmla="*/ 0 w 323850"/>
              <a:gd name="connsiteY14" fmla="*/ 229817 h 419100"/>
              <a:gd name="connsiteX15" fmla="*/ 8466 w 323850"/>
              <a:gd name="connsiteY15" fmla="*/ 186990 h 419100"/>
              <a:gd name="connsiteX16" fmla="*/ 34590 w 323850"/>
              <a:gd name="connsiteY16" fmla="*/ 160866 h 419100"/>
              <a:gd name="connsiteX17" fmla="*/ 66668 w 323850"/>
              <a:gd name="connsiteY17" fmla="*/ 152667 h 419100"/>
              <a:gd name="connsiteX18" fmla="*/ 66675 w 323850"/>
              <a:gd name="connsiteY18" fmla="*/ 95250 h 419100"/>
              <a:gd name="connsiteX19" fmla="*/ 161925 w 323850"/>
              <a:gd name="connsiteY19" fmla="*/ 0 h 419100"/>
              <a:gd name="connsiteX20" fmla="*/ 246433 w 323850"/>
              <a:gd name="connsiteY20" fmla="*/ 180975 h 419100"/>
              <a:gd name="connsiteX21" fmla="*/ 77417 w 323850"/>
              <a:gd name="connsiteY21" fmla="*/ 180975 h 419100"/>
              <a:gd name="connsiteX22" fmla="*/ 48066 w 323850"/>
              <a:gd name="connsiteY22" fmla="*/ 186064 h 419100"/>
              <a:gd name="connsiteX23" fmla="*/ 33664 w 323850"/>
              <a:gd name="connsiteY23" fmla="*/ 200466 h 419100"/>
              <a:gd name="connsiteX24" fmla="*/ 28575 w 323850"/>
              <a:gd name="connsiteY24" fmla="*/ 229817 h 419100"/>
              <a:gd name="connsiteX25" fmla="*/ 28575 w 323850"/>
              <a:gd name="connsiteY25" fmla="*/ 341683 h 419100"/>
              <a:gd name="connsiteX26" fmla="*/ 33664 w 323850"/>
              <a:gd name="connsiteY26" fmla="*/ 371034 h 419100"/>
              <a:gd name="connsiteX27" fmla="*/ 48066 w 323850"/>
              <a:gd name="connsiteY27" fmla="*/ 385436 h 419100"/>
              <a:gd name="connsiteX28" fmla="*/ 77417 w 323850"/>
              <a:gd name="connsiteY28" fmla="*/ 390525 h 419100"/>
              <a:gd name="connsiteX29" fmla="*/ 246433 w 323850"/>
              <a:gd name="connsiteY29" fmla="*/ 390525 h 419100"/>
              <a:gd name="connsiteX30" fmla="*/ 275784 w 323850"/>
              <a:gd name="connsiteY30" fmla="*/ 385436 h 419100"/>
              <a:gd name="connsiteX31" fmla="*/ 290186 w 323850"/>
              <a:gd name="connsiteY31" fmla="*/ 371034 h 419100"/>
              <a:gd name="connsiteX32" fmla="*/ 295275 w 323850"/>
              <a:gd name="connsiteY32" fmla="*/ 341683 h 419100"/>
              <a:gd name="connsiteX33" fmla="*/ 295275 w 323850"/>
              <a:gd name="connsiteY33" fmla="*/ 229817 h 419100"/>
              <a:gd name="connsiteX34" fmla="*/ 290186 w 323850"/>
              <a:gd name="connsiteY34" fmla="*/ 200466 h 419100"/>
              <a:gd name="connsiteX35" fmla="*/ 275784 w 323850"/>
              <a:gd name="connsiteY35" fmla="*/ 186064 h 419100"/>
              <a:gd name="connsiteX36" fmla="*/ 246433 w 323850"/>
              <a:gd name="connsiteY36" fmla="*/ 180975 h 419100"/>
              <a:gd name="connsiteX37" fmla="*/ 161925 w 323850"/>
              <a:gd name="connsiteY37" fmla="*/ 238125 h 419100"/>
              <a:gd name="connsiteX38" fmla="*/ 190500 w 323850"/>
              <a:gd name="connsiteY38" fmla="*/ 266700 h 419100"/>
              <a:gd name="connsiteX39" fmla="*/ 171459 w 323850"/>
              <a:gd name="connsiteY39" fmla="*/ 293646 h 419100"/>
              <a:gd name="connsiteX40" fmla="*/ 171450 w 323850"/>
              <a:gd name="connsiteY40" fmla="*/ 323850 h 419100"/>
              <a:gd name="connsiteX41" fmla="*/ 161925 w 323850"/>
              <a:gd name="connsiteY41" fmla="*/ 333375 h 419100"/>
              <a:gd name="connsiteX42" fmla="*/ 152400 w 323850"/>
              <a:gd name="connsiteY42" fmla="*/ 323850 h 419100"/>
              <a:gd name="connsiteX43" fmla="*/ 152401 w 323850"/>
              <a:gd name="connsiteY43" fmla="*/ 293649 h 419100"/>
              <a:gd name="connsiteX44" fmla="*/ 133350 w 323850"/>
              <a:gd name="connsiteY44" fmla="*/ 266700 h 419100"/>
              <a:gd name="connsiteX45" fmla="*/ 161925 w 323850"/>
              <a:gd name="connsiteY45" fmla="*/ 238125 h 419100"/>
              <a:gd name="connsiteX46" fmla="*/ 161925 w 323850"/>
              <a:gd name="connsiteY46" fmla="*/ 28575 h 419100"/>
              <a:gd name="connsiteX47" fmla="*/ 95250 w 323850"/>
              <a:gd name="connsiteY47" fmla="*/ 95250 h 419100"/>
              <a:gd name="connsiteX48" fmla="*/ 95250 w 323850"/>
              <a:gd name="connsiteY48" fmla="*/ 152400 h 419100"/>
              <a:gd name="connsiteX49" fmla="*/ 228600 w 323850"/>
              <a:gd name="connsiteY49" fmla="*/ 152400 h 419100"/>
              <a:gd name="connsiteX50" fmla="*/ 228600 w 323850"/>
              <a:gd name="connsiteY50" fmla="*/ 95250 h 419100"/>
              <a:gd name="connsiteX51" fmla="*/ 161925 w 323850"/>
              <a:gd name="connsiteY51" fmla="*/ 28575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3850" h="419100">
                <a:moveTo>
                  <a:pt x="161925" y="0"/>
                </a:moveTo>
                <a:cubicBezTo>
                  <a:pt x="214530" y="0"/>
                  <a:pt x="257175" y="42645"/>
                  <a:pt x="257175" y="95250"/>
                </a:cubicBezTo>
                <a:lnTo>
                  <a:pt x="257192" y="152667"/>
                </a:lnTo>
                <a:cubicBezTo>
                  <a:pt x="270681" y="153414"/>
                  <a:pt x="279811" y="155813"/>
                  <a:pt x="289260" y="160866"/>
                </a:cubicBezTo>
                <a:cubicBezTo>
                  <a:pt x="300448" y="166849"/>
                  <a:pt x="309401" y="175802"/>
                  <a:pt x="315384" y="186990"/>
                </a:cubicBezTo>
                <a:cubicBezTo>
                  <a:pt x="321674" y="198752"/>
                  <a:pt x="323850" y="210019"/>
                  <a:pt x="323850" y="229817"/>
                </a:cubicBezTo>
                <a:lnTo>
                  <a:pt x="323850" y="341683"/>
                </a:lnTo>
                <a:cubicBezTo>
                  <a:pt x="323850" y="361481"/>
                  <a:pt x="321674" y="372748"/>
                  <a:pt x="315384" y="384510"/>
                </a:cubicBezTo>
                <a:cubicBezTo>
                  <a:pt x="309401" y="395698"/>
                  <a:pt x="300448" y="404651"/>
                  <a:pt x="289260" y="410634"/>
                </a:cubicBezTo>
                <a:cubicBezTo>
                  <a:pt x="277498" y="416924"/>
                  <a:pt x="266231" y="419100"/>
                  <a:pt x="246433" y="419100"/>
                </a:cubicBezTo>
                <a:lnTo>
                  <a:pt x="77417" y="419100"/>
                </a:lnTo>
                <a:cubicBezTo>
                  <a:pt x="57619" y="419100"/>
                  <a:pt x="46352" y="416924"/>
                  <a:pt x="34590" y="410634"/>
                </a:cubicBezTo>
                <a:cubicBezTo>
                  <a:pt x="23402" y="404651"/>
                  <a:pt x="14449" y="395698"/>
                  <a:pt x="8466" y="384510"/>
                </a:cubicBezTo>
                <a:cubicBezTo>
                  <a:pt x="2176" y="372748"/>
                  <a:pt x="0" y="361481"/>
                  <a:pt x="0" y="341683"/>
                </a:cubicBezTo>
                <a:lnTo>
                  <a:pt x="0" y="229817"/>
                </a:lnTo>
                <a:cubicBezTo>
                  <a:pt x="0" y="210019"/>
                  <a:pt x="2176" y="198752"/>
                  <a:pt x="8466" y="186990"/>
                </a:cubicBezTo>
                <a:cubicBezTo>
                  <a:pt x="14449" y="175802"/>
                  <a:pt x="23402" y="166849"/>
                  <a:pt x="34590" y="160866"/>
                </a:cubicBezTo>
                <a:cubicBezTo>
                  <a:pt x="44042" y="155812"/>
                  <a:pt x="53173" y="153413"/>
                  <a:pt x="66668" y="152667"/>
                </a:cubicBezTo>
                <a:lnTo>
                  <a:pt x="66675" y="95250"/>
                </a:lnTo>
                <a:cubicBezTo>
                  <a:pt x="66675" y="42645"/>
                  <a:pt x="109320" y="0"/>
                  <a:pt x="161925" y="0"/>
                </a:cubicBezTo>
                <a:close/>
                <a:moveTo>
                  <a:pt x="246433" y="180975"/>
                </a:moveTo>
                <a:lnTo>
                  <a:pt x="77417" y="180975"/>
                </a:lnTo>
                <a:cubicBezTo>
                  <a:pt x="60433" y="180975"/>
                  <a:pt x="54275" y="182744"/>
                  <a:pt x="48066" y="186064"/>
                </a:cubicBezTo>
                <a:cubicBezTo>
                  <a:pt x="41858" y="189385"/>
                  <a:pt x="36985" y="194258"/>
                  <a:pt x="33664" y="200466"/>
                </a:cubicBezTo>
                <a:cubicBezTo>
                  <a:pt x="30344" y="206675"/>
                  <a:pt x="28575" y="212833"/>
                  <a:pt x="28575" y="229817"/>
                </a:cubicBezTo>
                <a:lnTo>
                  <a:pt x="28575" y="341683"/>
                </a:lnTo>
                <a:cubicBezTo>
                  <a:pt x="28575" y="358667"/>
                  <a:pt x="30344" y="364825"/>
                  <a:pt x="33664" y="371034"/>
                </a:cubicBezTo>
                <a:cubicBezTo>
                  <a:pt x="36985" y="377242"/>
                  <a:pt x="41858" y="382115"/>
                  <a:pt x="48066" y="385436"/>
                </a:cubicBezTo>
                <a:cubicBezTo>
                  <a:pt x="54275" y="388757"/>
                  <a:pt x="60433" y="390525"/>
                  <a:pt x="77417" y="390525"/>
                </a:cubicBezTo>
                <a:lnTo>
                  <a:pt x="246433" y="390525"/>
                </a:lnTo>
                <a:cubicBezTo>
                  <a:pt x="263417" y="390525"/>
                  <a:pt x="269575" y="388757"/>
                  <a:pt x="275784" y="385436"/>
                </a:cubicBezTo>
                <a:cubicBezTo>
                  <a:pt x="281992" y="382115"/>
                  <a:pt x="286865" y="377242"/>
                  <a:pt x="290186" y="371034"/>
                </a:cubicBezTo>
                <a:cubicBezTo>
                  <a:pt x="293507" y="364825"/>
                  <a:pt x="295275" y="358667"/>
                  <a:pt x="295275" y="341683"/>
                </a:cubicBezTo>
                <a:lnTo>
                  <a:pt x="295275" y="229817"/>
                </a:lnTo>
                <a:cubicBezTo>
                  <a:pt x="295275" y="212833"/>
                  <a:pt x="293507" y="206675"/>
                  <a:pt x="290186" y="200466"/>
                </a:cubicBezTo>
                <a:cubicBezTo>
                  <a:pt x="286865" y="194258"/>
                  <a:pt x="281992" y="189385"/>
                  <a:pt x="275784" y="186064"/>
                </a:cubicBezTo>
                <a:cubicBezTo>
                  <a:pt x="269575" y="182744"/>
                  <a:pt x="263417" y="180975"/>
                  <a:pt x="246433" y="180975"/>
                </a:cubicBezTo>
                <a:close/>
                <a:moveTo>
                  <a:pt x="161925" y="238125"/>
                </a:moveTo>
                <a:cubicBezTo>
                  <a:pt x="177707" y="238125"/>
                  <a:pt x="190500" y="250918"/>
                  <a:pt x="190500" y="266700"/>
                </a:cubicBezTo>
                <a:cubicBezTo>
                  <a:pt x="190500" y="279139"/>
                  <a:pt x="182552" y="289721"/>
                  <a:pt x="171459" y="293646"/>
                </a:cubicBezTo>
                <a:lnTo>
                  <a:pt x="171450" y="323850"/>
                </a:lnTo>
                <a:cubicBezTo>
                  <a:pt x="171450" y="329111"/>
                  <a:pt x="167186" y="333375"/>
                  <a:pt x="161925" y="333375"/>
                </a:cubicBezTo>
                <a:cubicBezTo>
                  <a:pt x="156664" y="333375"/>
                  <a:pt x="152400" y="329111"/>
                  <a:pt x="152400" y="323850"/>
                </a:cubicBezTo>
                <a:lnTo>
                  <a:pt x="152401" y="293649"/>
                </a:lnTo>
                <a:cubicBezTo>
                  <a:pt x="141302" y="289727"/>
                  <a:pt x="133350" y="279143"/>
                  <a:pt x="133350" y="266700"/>
                </a:cubicBezTo>
                <a:cubicBezTo>
                  <a:pt x="133350" y="250918"/>
                  <a:pt x="146143" y="238125"/>
                  <a:pt x="161925" y="238125"/>
                </a:cubicBezTo>
                <a:close/>
                <a:moveTo>
                  <a:pt x="161925" y="28575"/>
                </a:moveTo>
                <a:cubicBezTo>
                  <a:pt x="125101" y="28575"/>
                  <a:pt x="95250" y="58426"/>
                  <a:pt x="95250" y="95250"/>
                </a:cubicBezTo>
                <a:lnTo>
                  <a:pt x="95250" y="152400"/>
                </a:lnTo>
                <a:lnTo>
                  <a:pt x="228600" y="152400"/>
                </a:lnTo>
                <a:lnTo>
                  <a:pt x="228600" y="95250"/>
                </a:lnTo>
                <a:cubicBezTo>
                  <a:pt x="228600" y="58426"/>
                  <a:pt x="198749" y="28575"/>
                  <a:pt x="161925" y="28575"/>
                </a:cubicBezTo>
                <a:close/>
              </a:path>
            </a:pathLst>
          </a:custGeom>
          <a:solidFill>
            <a:schemeClr val="tx1"/>
          </a:solidFill>
          <a:ln w="9525" cap="flat">
            <a:noFill/>
            <a:prstDash val="solid"/>
            <a:miter/>
          </a:ln>
        </p:spPr>
        <p:txBody>
          <a:bodyPr rtlCol="0" anchor="ctr"/>
          <a:lstStyle/>
          <a:p>
            <a:pPr defTabSz="1219170" hangingPunct="0"/>
            <a:endParaRPr lang="en-US" sz="2400" kern="0">
              <a:solidFill>
                <a:srgbClr val="000000"/>
              </a:solidFill>
              <a:latin typeface="Segoe UI"/>
              <a:cs typeface="Segoe UI"/>
              <a:sym typeface="Segoe UI"/>
            </a:endParaRPr>
          </a:p>
        </p:txBody>
      </p:sp>
      <p:sp>
        <p:nvSpPr>
          <p:cNvPr id="94" name="TextBox 15">
            <a:extLst>
              <a:ext uri="{FF2B5EF4-FFF2-40B4-BE49-F238E27FC236}">
                <a16:creationId xmlns:a16="http://schemas.microsoft.com/office/drawing/2014/main" id="{9A0920EC-CDB6-415C-99C6-BFFDE45E0995}"/>
              </a:ext>
            </a:extLst>
          </p:cNvPr>
          <p:cNvSpPr txBox="1"/>
          <p:nvPr/>
        </p:nvSpPr>
        <p:spPr bwMode="gray">
          <a:xfrm>
            <a:off x="6232543" y="4030506"/>
            <a:ext cx="1149135" cy="318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defRPr sz="900">
                <a:latin typeface="Henkel Milo-Regular"/>
                <a:ea typeface="Henkel Milo-Regular"/>
                <a:cs typeface="Henkel Milo-Regular"/>
                <a:sym typeface="Henkel Milo-Regular"/>
              </a:defRPr>
            </a:lvl1pPr>
          </a:lstStyle>
          <a:p>
            <a:pPr algn="l" defTabSz="1219140" hangingPunct="0">
              <a:defRPr/>
            </a:pPr>
            <a:r>
              <a:rPr lang="es-ES" sz="1467" kern="0">
                <a:solidFill>
                  <a:srgbClr val="000000"/>
                </a:solidFill>
                <a:latin typeface="Segoe UI" panose="020B0502040204020203" pitchFamily="34" charset="0"/>
                <a:cs typeface="Segoe UI" panose="020B0502040204020203" pitchFamily="34" charset="0"/>
              </a:rPr>
              <a:t>Encriptado</a:t>
            </a:r>
          </a:p>
        </p:txBody>
      </p:sp>
      <p:grpSp>
        <p:nvGrpSpPr>
          <p:cNvPr id="95" name="Gruppieren 43">
            <a:extLst>
              <a:ext uri="{FF2B5EF4-FFF2-40B4-BE49-F238E27FC236}">
                <a16:creationId xmlns:a16="http://schemas.microsoft.com/office/drawing/2014/main" id="{25190120-0412-42F1-B2A0-2956A044CF6E}"/>
              </a:ext>
            </a:extLst>
          </p:cNvPr>
          <p:cNvGrpSpPr/>
          <p:nvPr/>
        </p:nvGrpSpPr>
        <p:grpSpPr bwMode="gray">
          <a:xfrm>
            <a:off x="7306207" y="3147907"/>
            <a:ext cx="1255680" cy="810245"/>
            <a:chOff x="6114157" y="2683519"/>
            <a:chExt cx="941760" cy="607684"/>
          </a:xfrm>
        </p:grpSpPr>
        <mc:AlternateContent xmlns:mc="http://schemas.openxmlformats.org/markup-compatibility/2006" xmlns:p14="http://schemas.microsoft.com/office/powerpoint/2010/main">
          <mc:Choice Requires="p14">
            <p:contentPart p14:bwMode="gray" r:id="rId25">
              <p14:nvContentPartPr>
                <p14:cNvPr id="96" name="Freihand 68">
                  <a:extLst>
                    <a:ext uri="{FF2B5EF4-FFF2-40B4-BE49-F238E27FC236}">
                      <a16:creationId xmlns:a16="http://schemas.microsoft.com/office/drawing/2014/main" id="{D3BF73FF-AD18-4114-A244-DFAD1C00F508}"/>
                    </a:ext>
                  </a:extLst>
                </p14:cNvPr>
                <p14:cNvContentPartPr/>
                <p14:nvPr/>
              </p14:nvContentPartPr>
              <p14:xfrm flipH="1">
                <a:off x="6114157" y="2683519"/>
                <a:ext cx="941760" cy="480600"/>
              </p14:xfrm>
            </p:contentPart>
          </mc:Choice>
          <mc:Fallback xmlns="">
            <p:pic>
              <p:nvPicPr>
                <p:cNvPr id="96" name="Freihand 68">
                  <a:extLst>
                    <a:ext uri="{FF2B5EF4-FFF2-40B4-BE49-F238E27FC236}">
                      <a16:creationId xmlns:a16="http://schemas.microsoft.com/office/drawing/2014/main" id="{D3BF73FF-AD18-4114-A244-DFAD1C00F508}"/>
                    </a:ext>
                  </a:extLst>
                </p:cNvPr>
                <p:cNvPicPr/>
                <p:nvPr/>
              </p:nvPicPr>
              <p:blipFill>
                <a:blip r:embed="rId26"/>
                <a:stretch>
                  <a:fillRect/>
                </a:stretch>
              </p:blipFill>
              <p:spPr>
                <a:xfrm flipH="1">
                  <a:off x="6105160" y="2674512"/>
                  <a:ext cx="959393" cy="498253"/>
                </a:xfrm>
                <a:prstGeom prst="rect">
                  <a:avLst/>
                </a:prstGeom>
              </p:spPr>
            </p:pic>
          </mc:Fallback>
        </mc:AlternateContent>
        <p:grpSp>
          <p:nvGrpSpPr>
            <p:cNvPr id="97" name="Gruppieren 42">
              <a:extLst>
                <a:ext uri="{FF2B5EF4-FFF2-40B4-BE49-F238E27FC236}">
                  <a16:creationId xmlns:a16="http://schemas.microsoft.com/office/drawing/2014/main" id="{EA7DEF85-79F5-49EA-A234-14CFB661A773}"/>
                </a:ext>
              </a:extLst>
            </p:cNvPr>
            <p:cNvGrpSpPr/>
            <p:nvPr/>
          </p:nvGrpSpPr>
          <p:grpSpPr bwMode="gray">
            <a:xfrm>
              <a:off x="6904717" y="3028763"/>
              <a:ext cx="149040" cy="262440"/>
              <a:chOff x="6904717" y="3028763"/>
              <a:chExt cx="149040" cy="262440"/>
            </a:xfrm>
          </p:grpSpPr>
          <mc:AlternateContent xmlns:mc="http://schemas.openxmlformats.org/markup-compatibility/2006" xmlns:p14="http://schemas.microsoft.com/office/powerpoint/2010/main">
            <mc:Choice Requires="p14">
              <p:contentPart p14:bwMode="gray" r:id="rId27">
                <p14:nvContentPartPr>
                  <p14:cNvPr id="98" name="Freihand 12">
                    <a:extLst>
                      <a:ext uri="{FF2B5EF4-FFF2-40B4-BE49-F238E27FC236}">
                        <a16:creationId xmlns:a16="http://schemas.microsoft.com/office/drawing/2014/main" id="{17D003BC-F508-4295-B96B-FB5221AB75A8}"/>
                      </a:ext>
                    </a:extLst>
                  </p14:cNvPr>
                  <p14:cNvContentPartPr/>
                  <p14:nvPr/>
                </p14:nvContentPartPr>
                <p14:xfrm>
                  <a:off x="6908677" y="3153683"/>
                  <a:ext cx="145080" cy="106920"/>
                </p14:xfrm>
              </p:contentPart>
            </mc:Choice>
            <mc:Fallback xmlns="">
              <p:pic>
                <p:nvPicPr>
                  <p:cNvPr id="98" name="Freihand 12">
                    <a:extLst>
                      <a:ext uri="{FF2B5EF4-FFF2-40B4-BE49-F238E27FC236}">
                        <a16:creationId xmlns:a16="http://schemas.microsoft.com/office/drawing/2014/main" id="{17D003BC-F508-4295-B96B-FB5221AB75A8}"/>
                      </a:ext>
                    </a:extLst>
                  </p:cNvPr>
                  <p:cNvPicPr/>
                  <p:nvPr/>
                </p:nvPicPr>
                <p:blipFill>
                  <a:blip r:embed="rId28"/>
                  <a:stretch>
                    <a:fillRect/>
                  </a:stretch>
                </p:blipFill>
                <p:spPr>
                  <a:xfrm>
                    <a:off x="6899655" y="3144683"/>
                    <a:ext cx="162764" cy="124560"/>
                  </a:xfrm>
                  <a:prstGeom prst="rect">
                    <a:avLst/>
                  </a:prstGeom>
                </p:spPr>
              </p:pic>
            </mc:Fallback>
          </mc:AlternateContent>
          <mc:AlternateContent xmlns:mc="http://schemas.openxmlformats.org/markup-compatibility/2006" xmlns:p14="http://schemas.microsoft.com/office/powerpoint/2010/main">
            <mc:Choice Requires="p14">
              <p:contentPart p14:bwMode="gray" r:id="rId29">
                <p14:nvContentPartPr>
                  <p14:cNvPr id="99" name="Freihand 34">
                    <a:extLst>
                      <a:ext uri="{FF2B5EF4-FFF2-40B4-BE49-F238E27FC236}">
                        <a16:creationId xmlns:a16="http://schemas.microsoft.com/office/drawing/2014/main" id="{C59D0E79-7315-49F3-A9F0-910D58D10EB7}"/>
                      </a:ext>
                    </a:extLst>
                  </p14:cNvPr>
                  <p14:cNvContentPartPr/>
                  <p14:nvPr/>
                </p14:nvContentPartPr>
                <p14:xfrm>
                  <a:off x="7022797" y="3118403"/>
                  <a:ext cx="19800" cy="50040"/>
                </p14:xfrm>
              </p:contentPart>
            </mc:Choice>
            <mc:Fallback xmlns="">
              <p:pic>
                <p:nvPicPr>
                  <p:cNvPr id="99" name="Freihand 34">
                    <a:extLst>
                      <a:ext uri="{FF2B5EF4-FFF2-40B4-BE49-F238E27FC236}">
                        <a16:creationId xmlns:a16="http://schemas.microsoft.com/office/drawing/2014/main" id="{C59D0E79-7315-49F3-A9F0-910D58D10EB7}"/>
                      </a:ext>
                    </a:extLst>
                  </p:cNvPr>
                  <p:cNvPicPr/>
                  <p:nvPr/>
                </p:nvPicPr>
                <p:blipFill>
                  <a:blip r:embed="rId30"/>
                  <a:stretch>
                    <a:fillRect/>
                  </a:stretch>
                </p:blipFill>
                <p:spPr>
                  <a:xfrm>
                    <a:off x="7013797" y="3109403"/>
                    <a:ext cx="37440" cy="67680"/>
                  </a:xfrm>
                  <a:prstGeom prst="rect">
                    <a:avLst/>
                  </a:prstGeom>
                </p:spPr>
              </p:pic>
            </mc:Fallback>
          </mc:AlternateContent>
          <mc:AlternateContent xmlns:mc="http://schemas.openxmlformats.org/markup-compatibility/2006" xmlns:p14="http://schemas.microsoft.com/office/powerpoint/2010/main">
            <mc:Choice Requires="p14">
              <p:contentPart p14:bwMode="gray" r:id="rId31">
                <p14:nvContentPartPr>
                  <p14:cNvPr id="100" name="Freihand 41">
                    <a:extLst>
                      <a:ext uri="{FF2B5EF4-FFF2-40B4-BE49-F238E27FC236}">
                        <a16:creationId xmlns:a16="http://schemas.microsoft.com/office/drawing/2014/main" id="{69E47845-EA9B-4B19-A026-D4148C3DEF96}"/>
                      </a:ext>
                    </a:extLst>
                  </p14:cNvPr>
                  <p14:cNvContentPartPr/>
                  <p14:nvPr/>
                </p14:nvContentPartPr>
                <p14:xfrm>
                  <a:off x="6904717" y="3028763"/>
                  <a:ext cx="129600" cy="262440"/>
                </p14:xfrm>
              </p:contentPart>
            </mc:Choice>
            <mc:Fallback xmlns="">
              <p:pic>
                <p:nvPicPr>
                  <p:cNvPr id="100" name="Freihand 41">
                    <a:extLst>
                      <a:ext uri="{FF2B5EF4-FFF2-40B4-BE49-F238E27FC236}">
                        <a16:creationId xmlns:a16="http://schemas.microsoft.com/office/drawing/2014/main" id="{69E47845-EA9B-4B19-A026-D4148C3DEF96}"/>
                      </a:ext>
                    </a:extLst>
                  </p:cNvPr>
                  <p:cNvPicPr/>
                  <p:nvPr/>
                </p:nvPicPr>
                <p:blipFill>
                  <a:blip r:embed="rId32"/>
                  <a:stretch>
                    <a:fillRect/>
                  </a:stretch>
                </p:blipFill>
                <p:spPr>
                  <a:xfrm>
                    <a:off x="6895717" y="3019751"/>
                    <a:ext cx="147240" cy="280104"/>
                  </a:xfrm>
                  <a:prstGeom prst="rect">
                    <a:avLst/>
                  </a:prstGeom>
                </p:spPr>
              </p:pic>
            </mc:Fallback>
          </mc:AlternateContent>
        </p:grpSp>
      </p:grpSp>
      <p:pic>
        <p:nvPicPr>
          <p:cNvPr id="101" name="Smart Flange Black.png" descr="Smart Flange Black.png">
            <a:extLst>
              <a:ext uri="{FF2B5EF4-FFF2-40B4-BE49-F238E27FC236}">
                <a16:creationId xmlns:a16="http://schemas.microsoft.com/office/drawing/2014/main" id="{DD107CCA-F557-4BC3-8AB9-611EB073A4CB}"/>
              </a:ext>
            </a:extLst>
          </p:cNvPr>
          <p:cNvPicPr>
            <a:picLocks noChangeAspect="1"/>
          </p:cNvPicPr>
          <p:nvPr/>
        </p:nvPicPr>
        <p:blipFill>
          <a:blip r:embed="rId33"/>
          <a:stretch>
            <a:fillRect/>
          </a:stretch>
        </p:blipFill>
        <p:spPr bwMode="gray">
          <a:xfrm>
            <a:off x="815712" y="3279235"/>
            <a:ext cx="1307576" cy="1307576"/>
          </a:xfrm>
          <a:prstGeom prst="rect">
            <a:avLst/>
          </a:prstGeom>
          <a:ln w="12700">
            <a:miter lim="400000"/>
          </a:ln>
        </p:spPr>
      </p:pic>
      <p:grpSp>
        <p:nvGrpSpPr>
          <p:cNvPr id="102" name="Group 101">
            <a:extLst>
              <a:ext uri="{FF2B5EF4-FFF2-40B4-BE49-F238E27FC236}">
                <a16:creationId xmlns:a16="http://schemas.microsoft.com/office/drawing/2014/main" id="{C95FEC4F-C51B-46CE-8EF7-C244BE9FA443}"/>
              </a:ext>
            </a:extLst>
          </p:cNvPr>
          <p:cNvGrpSpPr/>
          <p:nvPr/>
        </p:nvGrpSpPr>
        <p:grpSpPr bwMode="gray">
          <a:xfrm>
            <a:off x="1240245" y="4458878"/>
            <a:ext cx="532180" cy="532180"/>
            <a:chOff x="825551" y="3616787"/>
            <a:chExt cx="399135" cy="399135"/>
          </a:xfrm>
        </p:grpSpPr>
        <p:pic>
          <p:nvPicPr>
            <p:cNvPr id="103" name="Smart Pipe Black.png" descr="Smart Pipe Black.png">
              <a:extLst>
                <a:ext uri="{FF2B5EF4-FFF2-40B4-BE49-F238E27FC236}">
                  <a16:creationId xmlns:a16="http://schemas.microsoft.com/office/drawing/2014/main" id="{8000A8EF-9B3B-49BD-947B-727201B21350}"/>
                </a:ext>
              </a:extLst>
            </p:cNvPr>
            <p:cNvPicPr>
              <a:picLocks noChangeAspect="1"/>
            </p:cNvPicPr>
            <p:nvPr/>
          </p:nvPicPr>
          <p:blipFill>
            <a:blip r:embed="rId34"/>
            <a:stretch>
              <a:fillRect/>
            </a:stretch>
          </p:blipFill>
          <p:spPr bwMode="gray">
            <a:xfrm>
              <a:off x="825551" y="3616787"/>
              <a:ext cx="399135" cy="399135"/>
            </a:xfrm>
            <a:prstGeom prst="rect">
              <a:avLst/>
            </a:prstGeom>
            <a:ln w="12700">
              <a:miter lim="400000"/>
            </a:ln>
          </p:spPr>
        </p:pic>
        <p:pic>
          <p:nvPicPr>
            <p:cNvPr id="104" name="Image" descr="Image">
              <a:extLst>
                <a:ext uri="{FF2B5EF4-FFF2-40B4-BE49-F238E27FC236}">
                  <a16:creationId xmlns:a16="http://schemas.microsoft.com/office/drawing/2014/main" id="{336AE340-0C70-4F81-8C95-8C8C3ED85AD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bwMode="gray">
            <a:xfrm>
              <a:off x="833204" y="3767219"/>
              <a:ext cx="138098" cy="138098"/>
            </a:xfrm>
            <a:prstGeom prst="rect">
              <a:avLst/>
            </a:prstGeom>
            <a:ln w="12700">
              <a:miter lim="400000"/>
            </a:ln>
          </p:spPr>
        </p:pic>
      </p:grpSp>
      <p:grpSp>
        <p:nvGrpSpPr>
          <p:cNvPr id="105" name="Group 104">
            <a:extLst>
              <a:ext uri="{FF2B5EF4-FFF2-40B4-BE49-F238E27FC236}">
                <a16:creationId xmlns:a16="http://schemas.microsoft.com/office/drawing/2014/main" id="{007885F4-BA09-47CD-9695-CAA576A07E9F}"/>
              </a:ext>
            </a:extLst>
          </p:cNvPr>
          <p:cNvGrpSpPr/>
          <p:nvPr/>
        </p:nvGrpSpPr>
        <p:grpSpPr bwMode="gray">
          <a:xfrm>
            <a:off x="5701935" y="2211916"/>
            <a:ext cx="1379456" cy="1379456"/>
            <a:chOff x="4786025" y="1925448"/>
            <a:chExt cx="1034592" cy="1034592"/>
          </a:xfrm>
        </p:grpSpPr>
        <p:pic>
          <p:nvPicPr>
            <p:cNvPr id="106" name="Grafik 40" descr="Cloud Silhouette">
              <a:extLst>
                <a:ext uri="{FF2B5EF4-FFF2-40B4-BE49-F238E27FC236}">
                  <a16:creationId xmlns:a16="http://schemas.microsoft.com/office/drawing/2014/main" id="{CC567ED3-7CE4-4C55-B32F-D1A6D20D4A82}"/>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bwMode="gray">
            <a:xfrm>
              <a:off x="4786025" y="1925448"/>
              <a:ext cx="1034592" cy="1034592"/>
            </a:xfrm>
            <a:prstGeom prst="rect">
              <a:avLst/>
            </a:prstGeom>
          </p:spPr>
        </p:pic>
        <p:pic>
          <p:nvPicPr>
            <p:cNvPr id="107" name="LOCP_RED.png" descr="LOCP_RED.png">
              <a:extLst>
                <a:ext uri="{FF2B5EF4-FFF2-40B4-BE49-F238E27FC236}">
                  <a16:creationId xmlns:a16="http://schemas.microsoft.com/office/drawing/2014/main" id="{5F52A163-4AED-4843-AA68-01B717DC1749}"/>
                </a:ext>
              </a:extLst>
            </p:cNvPr>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bwMode="gray">
            <a:xfrm>
              <a:off x="4862729" y="2409889"/>
              <a:ext cx="881183" cy="281739"/>
            </a:xfrm>
            <a:prstGeom prst="rect">
              <a:avLst/>
            </a:prstGeom>
            <a:ln w="12700">
              <a:miter lim="400000"/>
            </a:ln>
          </p:spPr>
        </p:pic>
      </p:grpSp>
      <p:sp>
        <p:nvSpPr>
          <p:cNvPr id="108" name="TextBox 21">
            <a:extLst>
              <a:ext uri="{FF2B5EF4-FFF2-40B4-BE49-F238E27FC236}">
                <a16:creationId xmlns:a16="http://schemas.microsoft.com/office/drawing/2014/main" id="{49CD11B6-8E70-4E30-941C-942695AE3F70}"/>
              </a:ext>
            </a:extLst>
          </p:cNvPr>
          <p:cNvSpPr txBox="1"/>
          <p:nvPr/>
        </p:nvSpPr>
        <p:spPr bwMode="gray">
          <a:xfrm>
            <a:off x="8354333" y="4817892"/>
            <a:ext cx="1258319" cy="54386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60959" rIns="60959">
            <a:spAutoFit/>
          </a:bodyPr>
          <a:lstStyle>
            <a:lvl1pPr algn="ctr">
              <a:defRPr sz="900">
                <a:latin typeface="Henkel Milo-Regular"/>
                <a:ea typeface="Henkel Milo-Regular"/>
                <a:cs typeface="Henkel Milo-Regular"/>
                <a:sym typeface="Henkel Milo-Regular"/>
              </a:defRPr>
            </a:lvl1pPr>
          </a:lstStyle>
          <a:p>
            <a:pPr defTabSz="1219140" hangingPunct="0">
              <a:defRPr/>
            </a:pPr>
            <a:r>
              <a:rPr lang="es-ES" sz="1467" kern="0">
                <a:solidFill>
                  <a:srgbClr val="000000"/>
                </a:solidFill>
                <a:latin typeface="Segoe UI" panose="020B0502040204020203" pitchFamily="34" charset="0"/>
                <a:cs typeface="Segoe UI" panose="020B0502040204020203" pitchFamily="34" charset="0"/>
              </a:rPr>
              <a:t>Asistencia en la instalación</a:t>
            </a:r>
          </a:p>
        </p:txBody>
      </p:sp>
      <p:grpSp>
        <p:nvGrpSpPr>
          <p:cNvPr id="109" name="Group 108">
            <a:extLst>
              <a:ext uri="{FF2B5EF4-FFF2-40B4-BE49-F238E27FC236}">
                <a16:creationId xmlns:a16="http://schemas.microsoft.com/office/drawing/2014/main" id="{4274C71A-9D99-4944-BBD9-4E83BC617AF0}"/>
              </a:ext>
            </a:extLst>
          </p:cNvPr>
          <p:cNvGrpSpPr/>
          <p:nvPr/>
        </p:nvGrpSpPr>
        <p:grpSpPr bwMode="gray">
          <a:xfrm>
            <a:off x="8633039" y="4161193"/>
            <a:ext cx="640295" cy="640295"/>
            <a:chOff x="1044833" y="3511200"/>
            <a:chExt cx="480221" cy="480221"/>
          </a:xfrm>
        </p:grpSpPr>
        <p:pic>
          <p:nvPicPr>
            <p:cNvPr id="110" name="Graphic 109" descr="Smart Phone outline">
              <a:extLst>
                <a:ext uri="{FF2B5EF4-FFF2-40B4-BE49-F238E27FC236}">
                  <a16:creationId xmlns:a16="http://schemas.microsoft.com/office/drawing/2014/main" id="{3F7ADDE1-4013-4E91-A2CC-4C5C638464D6}"/>
                </a:ext>
              </a:extLst>
            </p:cNvPr>
            <p:cNvPicPr>
              <a:picLocks noChangeAspect="1"/>
            </p:cNvPicPr>
            <p:nvPr/>
          </p:nvPicPr>
          <p:blipFill>
            <a:blip r:embed="rId38">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bwMode="gray">
            <a:xfrm>
              <a:off x="1044833" y="3511200"/>
              <a:ext cx="480221" cy="480221"/>
            </a:xfrm>
            <a:prstGeom prst="rect">
              <a:avLst/>
            </a:prstGeom>
          </p:spPr>
        </p:pic>
        <p:pic>
          <p:nvPicPr>
            <p:cNvPr id="111" name="Graphic 110" descr="Checklist outline">
              <a:extLst>
                <a:ext uri="{FF2B5EF4-FFF2-40B4-BE49-F238E27FC236}">
                  <a16:creationId xmlns:a16="http://schemas.microsoft.com/office/drawing/2014/main" id="{E9920752-7C99-421D-89EC-898251A925DA}"/>
                </a:ext>
              </a:extLst>
            </p:cNvPr>
            <p:cNvPicPr>
              <a:picLocks noChangeAspect="1"/>
            </p:cNvPicPr>
            <p:nvPr/>
          </p:nvPicPr>
          <p:blipFill>
            <a:blip r:embed="rId40" cstate="print">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bwMode="gray">
            <a:xfrm>
              <a:off x="1129726" y="3593050"/>
              <a:ext cx="310433" cy="310433"/>
            </a:xfrm>
            <a:prstGeom prst="rect">
              <a:avLst/>
            </a:prstGeom>
          </p:spPr>
        </p:pic>
      </p:grpSp>
      <p:sp>
        <p:nvSpPr>
          <p:cNvPr id="112" name="Rechteck 29">
            <a:extLst>
              <a:ext uri="{FF2B5EF4-FFF2-40B4-BE49-F238E27FC236}">
                <a16:creationId xmlns:a16="http://schemas.microsoft.com/office/drawing/2014/main" id="{12359473-C7D5-48DE-B6F3-B1F60D5FADE3}"/>
              </a:ext>
            </a:extLst>
          </p:cNvPr>
          <p:cNvSpPr/>
          <p:nvPr/>
        </p:nvSpPr>
        <p:spPr bwMode="gray">
          <a:xfrm>
            <a:off x="999206" y="2821152"/>
            <a:ext cx="889021" cy="640800"/>
          </a:xfrm>
          <a:prstGeom prst="rect">
            <a:avLst/>
          </a:prstGeom>
          <a:solidFill>
            <a:srgbClr val="FFFFFF">
              <a:alpha val="67059"/>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sp>
        <p:nvSpPr>
          <p:cNvPr id="113" name="Rechteck 29">
            <a:extLst>
              <a:ext uri="{FF2B5EF4-FFF2-40B4-BE49-F238E27FC236}">
                <a16:creationId xmlns:a16="http://schemas.microsoft.com/office/drawing/2014/main" id="{7EC3F295-DBF4-4F86-964C-2303E56F4643}"/>
              </a:ext>
            </a:extLst>
          </p:cNvPr>
          <p:cNvSpPr/>
          <p:nvPr/>
        </p:nvSpPr>
        <p:spPr bwMode="gray">
          <a:xfrm>
            <a:off x="1118295" y="4537419"/>
            <a:ext cx="889021" cy="640800"/>
          </a:xfrm>
          <a:prstGeom prst="rect">
            <a:avLst/>
          </a:prstGeom>
          <a:solidFill>
            <a:srgbClr val="FFFFFF">
              <a:alpha val="67059"/>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2399" tIns="62399" rIns="62399" bIns="62399" numCol="1" spcCol="38100" rtlCol="0" anchor="t">
            <a:noAutofit/>
          </a:bodyPr>
          <a:lstStyle/>
          <a:p>
            <a:pPr defTabSz="1219170" hangingPunct="0"/>
            <a:endParaRPr lang="en-US" sz="2400" kern="0">
              <a:solidFill>
                <a:srgbClr val="000000"/>
              </a:solidFill>
              <a:latin typeface="Segoe UI"/>
              <a:ea typeface="Segoe UI"/>
              <a:cs typeface="Segoe UI"/>
              <a:sym typeface="Segoe UI"/>
            </a:endParaRPr>
          </a:p>
        </p:txBody>
      </p:sp>
      <p:pic>
        <p:nvPicPr>
          <p:cNvPr id="114" name="Image 8">
            <a:extLst>
              <a:ext uri="{FF2B5EF4-FFF2-40B4-BE49-F238E27FC236}">
                <a16:creationId xmlns:a16="http://schemas.microsoft.com/office/drawing/2014/main" id="{D5047584-3AA1-4EE2-B07F-87406B746E38}"/>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bwMode="gray">
          <a:xfrm>
            <a:off x="3374987" y="3369898"/>
            <a:ext cx="957591" cy="957591"/>
          </a:xfrm>
          <a:prstGeom prst="rect">
            <a:avLst/>
          </a:prstGeom>
        </p:spPr>
      </p:pic>
      <p:pic>
        <p:nvPicPr>
          <p:cNvPr id="115" name="Image" descr="Image">
            <a:extLst>
              <a:ext uri="{FF2B5EF4-FFF2-40B4-BE49-F238E27FC236}">
                <a16:creationId xmlns:a16="http://schemas.microsoft.com/office/drawing/2014/main" id="{0DC93CB4-9704-4E04-8AD6-DA4F93A2790D}"/>
              </a:ext>
            </a:extLst>
          </p:cNvPr>
          <p:cNvPicPr>
            <a:picLocks noChangeAspect="1"/>
          </p:cNvPicPr>
          <p:nvPr/>
        </p:nvPicPr>
        <p:blipFill>
          <a:blip r:embed="rId43" cstate="hqprint">
            <a:extLst>
              <a:ext uri="{28A0092B-C50C-407E-A947-70E740481C1C}">
                <a14:useLocalDpi xmlns:a14="http://schemas.microsoft.com/office/drawing/2010/main"/>
              </a:ext>
            </a:extLst>
          </a:blip>
          <a:stretch>
            <a:fillRect/>
          </a:stretch>
        </p:blipFill>
        <p:spPr bwMode="gray">
          <a:xfrm>
            <a:off x="736857" y="3788707"/>
            <a:ext cx="304648" cy="304648"/>
          </a:xfrm>
          <a:prstGeom prst="rect">
            <a:avLst/>
          </a:prstGeom>
          <a:ln w="12700">
            <a:miter lim="400000"/>
          </a:ln>
        </p:spPr>
      </p:pic>
    </p:spTree>
    <p:extLst>
      <p:ext uri="{BB962C8B-B14F-4D97-AF65-F5344CB8AC3E}">
        <p14:creationId xmlns:p14="http://schemas.microsoft.com/office/powerpoint/2010/main" val="546601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left)">
                                      <p:cBhvr>
                                        <p:cTn id="7" dur="500"/>
                                        <p:tgtEl>
                                          <p:spTgt spid="8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7"/>
                                        </p:tgtEl>
                                        <p:attrNameLst>
                                          <p:attrName>style.visibility</p:attrName>
                                        </p:attrNameLst>
                                      </p:cBhvr>
                                      <p:to>
                                        <p:strVal val="visible"/>
                                      </p:to>
                                    </p:set>
                                    <p:animEffect transition="in" filter="wipe(left)">
                                      <p:cBhvr>
                                        <p:cTn id="12" dur="500"/>
                                        <p:tgtEl>
                                          <p:spTgt spid="8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5"/>
                                        </p:tgtEl>
                                        <p:attrNameLst>
                                          <p:attrName>style.visibility</p:attrName>
                                        </p:attrNameLst>
                                      </p:cBhvr>
                                      <p:to>
                                        <p:strVal val="visible"/>
                                      </p:to>
                                    </p:set>
                                    <p:animEffect transition="in" filter="wipe(left)">
                                      <p:cBhvr>
                                        <p:cTn id="17"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octite Template">
  <a:themeElements>
    <a:clrScheme name="Henkel">
      <a:dk1>
        <a:srgbClr val="000000"/>
      </a:dk1>
      <a:lt1>
        <a:srgbClr val="FFFFFF"/>
      </a:lt1>
      <a:dk2>
        <a:srgbClr val="E1000F"/>
      </a:dk2>
      <a:lt2>
        <a:srgbClr val="E6E7E7"/>
      </a:lt2>
      <a:accent1>
        <a:srgbClr val="5F6973"/>
      </a:accent1>
      <a:accent2>
        <a:srgbClr val="AFB4B9"/>
      </a:accent2>
      <a:accent3>
        <a:srgbClr val="00AA75"/>
      </a:accent3>
      <a:accent4>
        <a:srgbClr val="004C79"/>
      </a:accent4>
      <a:accent5>
        <a:srgbClr val="9A141B"/>
      </a:accent5>
      <a:accent6>
        <a:srgbClr val="FFDB23"/>
      </a:accent6>
      <a:hlink>
        <a:srgbClr val="0078C8"/>
      </a:hlink>
      <a:folHlink>
        <a:srgbClr val="0078C8"/>
      </a:folHlink>
    </a:clrScheme>
    <a:fontScheme name="Henkel Template">
      <a:majorFont>
        <a:latin typeface="Segoe UI Light"/>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rtlCol="0" anchor="t" anchorCtr="0" compatLnSpc="1">
        <a:prstTxWarp prst="textNoShape">
          <a:avLst/>
        </a:prstTxWarp>
      </a:bodyPr>
      <a:lstStyle>
        <a:defPPr marL="0" marR="0" indent="0" algn="l" defTabSz="914400" rtl="0" eaLnBrk="1" fontAlgn="base" latinLnBrk="0" hangingPunct="1">
          <a:lnSpc>
            <a:spcPct val="105000"/>
          </a:lnSpc>
          <a:spcBef>
            <a:spcPct val="0"/>
          </a:spcBef>
          <a:spcAft>
            <a:spcPct val="0"/>
          </a:spcAft>
          <a:buClr>
            <a:schemeClr val="tx2"/>
          </a:buClr>
          <a:buSzPct val="120000"/>
          <a:buFontTx/>
          <a:buNone/>
          <a:tabLst/>
          <a:defRPr kumimoji="0" b="0" i="0" u="none" strike="noStrike" cap="none" normalizeH="0" baseline="0" dirty="0" smtClean="0">
            <a:ln>
              <a:noFill/>
            </a:ln>
            <a:solidFill>
              <a:schemeClr val="tx1"/>
            </a:solidFill>
            <a:effectLst/>
            <a:latin typeface="+mn-lt"/>
          </a:defRPr>
        </a:defPPr>
      </a:lstStyle>
    </a:spDef>
    <a:lnDef>
      <a:spPr bwMode="auto">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lgn="l">
          <a:lnSpc>
            <a:spcPct val="105000"/>
          </a:lnSpc>
          <a:defRPr dirty="0" err="1" smtClean="0">
            <a:latin typeface="+mn-lt"/>
          </a:defRPr>
        </a:defPPr>
      </a:lstStyle>
    </a:txDef>
  </a:objectDefaults>
  <a:extraClrSchemeLst/>
  <a:custClrLst>
    <a:custClr name="Henkel Red">
      <a:srgbClr val="E1000F"/>
    </a:custClr>
    <a:custClr name="White">
      <a:srgbClr val="FFFFFF"/>
    </a:custClr>
    <a:custClr name="Black">
      <a:srgbClr val="000000"/>
    </a:custClr>
    <a:custClr name="Grey 1">
      <a:srgbClr val="5F6973"/>
    </a:custClr>
    <a:custClr name="Grey 2">
      <a:srgbClr val="AFB4B9"/>
    </a:custClr>
    <a:custClr name="Grey 3">
      <a:srgbClr val="E6E7E7"/>
    </a:custClr>
    <a:custClr name="Green">
      <a:srgbClr val="00AA75"/>
    </a:custClr>
    <a:custClr name="Blue">
      <a:srgbClr val="004C79"/>
    </a:custClr>
    <a:custClr name="Accent Dark Red">
      <a:srgbClr val="A03238"/>
    </a:custClr>
    <a:custClr name="Accent Yellow">
      <a:srgbClr val="FFDB26"/>
    </a:custClr>
    <a:custClr name="Accent Green">
      <a:srgbClr val="A7DC92"/>
    </a:custClr>
    <a:custClr name="Accent Blue 1">
      <a:srgbClr val="2AD2C9"/>
    </a:custClr>
    <a:custClr name="Accent Blue 2">
      <a:srgbClr val="0078C8"/>
    </a:custClr>
    <a:custClr name="Accent Blue 3">
      <a:srgbClr val="500778"/>
    </a:custClr>
  </a:custClrLst>
  <a:extLst>
    <a:ext uri="{05A4C25C-085E-4340-85A3-A5531E510DB2}">
      <thm15:themeFamily xmlns:thm15="http://schemas.microsoft.com/office/thememl/2012/main" name="Presentation3" id="{DE6359FC-CF68-4EA5-865C-11F40E0002EC}" vid="{4F674CCD-2EB6-4F9C-B107-6B119B05320F}"/>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13</Words>
  <Application>Microsoft Office PowerPoint</Application>
  <PresentationFormat>Panorámica</PresentationFormat>
  <Paragraphs>216</Paragraphs>
  <Slides>19</Slides>
  <Notes>5</Notes>
  <HiddenSlides>0</HiddenSlides>
  <MMClips>1</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8" baseType="lpstr">
      <vt:lpstr>Arial</vt:lpstr>
      <vt:lpstr>Calibri</vt:lpstr>
      <vt:lpstr>Henkel Milo-Regular</vt:lpstr>
      <vt:lpstr>Segoe UI</vt:lpstr>
      <vt:lpstr>Segoe UI Light</vt:lpstr>
      <vt:lpstr>Symbol</vt:lpstr>
      <vt:lpstr>Wingdings</vt:lpstr>
      <vt:lpstr>Loctite Template</vt:lpstr>
      <vt:lpstr>think-cell Folie</vt:lpstr>
      <vt:lpstr>Predice las alteraciones de tu equipo</vt:lpstr>
      <vt:lpstr>Descargo de responsabilidad</vt:lpstr>
      <vt:lpstr>Presentación de PowerPoint</vt:lpstr>
      <vt:lpstr>COMO EVOLUCIONA NUESTRA OFERTA </vt:lpstr>
      <vt:lpstr>Presentación de PowerPoint</vt:lpstr>
      <vt:lpstr>Presentación de PowerPoint</vt:lpstr>
      <vt:lpstr>Presentación de PowerPoint</vt:lpstr>
      <vt:lpstr>¡Veamos la solución!</vt:lpstr>
      <vt:lpstr>Resumen esquemático de la solución </vt:lpstr>
      <vt:lpstr>      Recopilación de Datos </vt:lpstr>
      <vt:lpstr>      +       Transmisión de datos y Análisis </vt:lpstr>
      <vt:lpstr>      VISUALIZACIÓN DE DATOS </vt:lpstr>
      <vt:lpstr>Puntos débiles más frecuentes en la industria</vt:lpstr>
      <vt:lpstr>Nuestro Modelo de Negocio</vt:lpstr>
      <vt:lpstr>Como ayudamos a una refinería mediante la detección Inteligente de Fugas a reducir costes y tiempos de paradas no planificadas</vt:lpstr>
      <vt:lpstr>¡Veamos!</vt:lpstr>
      <vt:lpstr>¿POR QUÉ EMPEZAR AHORA?</vt:lpstr>
      <vt:lpstr>¡Gracia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e las alteraciones de tu equipo</dc:title>
  <dc:creator>Luis Ferrer</dc:creator>
  <cp:lastModifiedBy>Enric</cp:lastModifiedBy>
  <cp:revision>1</cp:revision>
  <dcterms:created xsi:type="dcterms:W3CDTF">2023-05-25T15:10:07Z</dcterms:created>
  <dcterms:modified xsi:type="dcterms:W3CDTF">2023-05-26T09:01:02Z</dcterms:modified>
</cp:coreProperties>
</file>